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16765186" r:id="rId5"/>
    <p:sldId id="16765182" r:id="rId6"/>
    <p:sldId id="16765205" r:id="rId7"/>
    <p:sldId id="16765194" r:id="rId8"/>
    <p:sldId id="16765204" r:id="rId9"/>
    <p:sldId id="16765195" r:id="rId10"/>
    <p:sldId id="16765196" r:id="rId11"/>
    <p:sldId id="16765201" r:id="rId12"/>
    <p:sldId id="16765199" r:id="rId13"/>
    <p:sldId id="16765206" r:id="rId14"/>
    <p:sldId id="16765177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AE45"/>
    <a:srgbClr val="0F3858"/>
    <a:srgbClr val="2C70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71" autoAdjust="0"/>
    <p:restoredTop sz="77921" autoAdjust="0"/>
  </p:normalViewPr>
  <p:slideViewPr>
    <p:cSldViewPr snapToGrid="0">
      <p:cViewPr varScale="1">
        <p:scale>
          <a:sx n="87" d="100"/>
          <a:sy n="87" d="100"/>
        </p:scale>
        <p:origin x="194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60"/>
    </p:cViewPr>
  </p:sorterViewPr>
  <p:notesViewPr>
    <p:cSldViewPr snapToGrid="0">
      <p:cViewPr>
        <p:scale>
          <a:sx n="1" d="2"/>
          <a:sy n="1" d="2"/>
        </p:scale>
        <p:origin x="1856" y="1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CAEC42-D649-4260-B911-E7837C5CA6F4}" type="doc">
      <dgm:prSet loTypeId="urn:microsoft.com/office/officeart/2005/8/layout/vList2#1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zh-CN" altLang="en-US"/>
        </a:p>
      </dgm:t>
    </dgm:pt>
    <dgm:pt modelId="{DF032A3F-E541-4755-A7F0-8E19E84E7C6B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en-US" sz="2400" b="1" dirty="0"/>
            <a:t>NPHIs provide </a:t>
          </a:r>
          <a:r>
            <a:rPr lang="en-US" sz="2400" b="1" u="sng" dirty="0"/>
            <a:t>workforce, expertise, and knowledge </a:t>
          </a:r>
          <a:r>
            <a:rPr lang="en-US" sz="2400" b="1" dirty="0"/>
            <a:t>to health security matters :</a:t>
          </a:r>
          <a:endParaRPr lang="zh-CN" sz="2400" b="1" dirty="0"/>
        </a:p>
      </dgm:t>
    </dgm:pt>
    <dgm:pt modelId="{EEE7EC61-4560-4075-965A-CF6E2FA78A34}" type="parTrans" cxnId="{8ED036C6-D1A6-41AE-BCB6-E1CC803F1416}">
      <dgm:prSet/>
      <dgm:spPr/>
      <dgm:t>
        <a:bodyPr/>
        <a:lstStyle/>
        <a:p>
          <a:endParaRPr lang="zh-CN" altLang="en-US" sz="2400" b="1"/>
        </a:p>
      </dgm:t>
    </dgm:pt>
    <dgm:pt modelId="{7DC8A096-D6FC-462B-AFED-11E181CD89DE}" type="sibTrans" cxnId="{8ED036C6-D1A6-41AE-BCB6-E1CC803F1416}">
      <dgm:prSet/>
      <dgm:spPr/>
      <dgm:t>
        <a:bodyPr/>
        <a:lstStyle/>
        <a:p>
          <a:endParaRPr lang="zh-CN" altLang="en-US" sz="2400" b="1"/>
        </a:p>
      </dgm:t>
    </dgm:pt>
    <dgm:pt modelId="{0293EA8E-086B-48BC-B336-D0010A395401}">
      <dgm:prSet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sz="1800" b="1" dirty="0"/>
            <a:t>1. NPHIs across the world have been at the frontline of the response to public health emergencies domestically and globally</a:t>
          </a:r>
          <a:endParaRPr lang="zh-CN" sz="1800" b="1" dirty="0"/>
        </a:p>
      </dgm:t>
    </dgm:pt>
    <dgm:pt modelId="{5CACC511-201F-4EB3-9A57-B3E616C583F3}" type="parTrans" cxnId="{AEA06DA2-3844-43B7-8391-A6D3D9341C88}">
      <dgm:prSet/>
      <dgm:spPr/>
      <dgm:t>
        <a:bodyPr/>
        <a:lstStyle/>
        <a:p>
          <a:endParaRPr lang="zh-CN" altLang="en-US" sz="2400" b="1"/>
        </a:p>
      </dgm:t>
    </dgm:pt>
    <dgm:pt modelId="{C20FFD2D-9526-4D13-A79D-24B4219E1980}" type="sibTrans" cxnId="{AEA06DA2-3844-43B7-8391-A6D3D9341C88}">
      <dgm:prSet/>
      <dgm:spPr/>
      <dgm:t>
        <a:bodyPr/>
        <a:lstStyle/>
        <a:p>
          <a:endParaRPr lang="zh-CN" altLang="en-US" sz="2400" b="1"/>
        </a:p>
      </dgm:t>
    </dgm:pt>
    <dgm:pt modelId="{BA4FA4BD-4A33-431C-B8EA-024D20FBE440}">
      <dgm:prSet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sz="1800" b="1" dirty="0"/>
            <a:t>2. NPHIs provide evidence-based advices in shaping public health security legislations and policies </a:t>
          </a:r>
          <a:endParaRPr lang="zh-CN" sz="1800" b="1" dirty="0"/>
        </a:p>
      </dgm:t>
    </dgm:pt>
    <dgm:pt modelId="{D062B58B-C65C-43FB-A02D-E8A2BA99D445}" type="parTrans" cxnId="{3F75246F-7334-4436-BEBB-3C9650DD9D28}">
      <dgm:prSet/>
      <dgm:spPr/>
      <dgm:t>
        <a:bodyPr/>
        <a:lstStyle/>
        <a:p>
          <a:endParaRPr lang="zh-CN" altLang="en-US" sz="2400" b="1"/>
        </a:p>
      </dgm:t>
    </dgm:pt>
    <dgm:pt modelId="{4341FBAA-3762-4374-A9D4-AEA04EAF96A4}" type="sibTrans" cxnId="{3F75246F-7334-4436-BEBB-3C9650DD9D28}">
      <dgm:prSet/>
      <dgm:spPr/>
      <dgm:t>
        <a:bodyPr/>
        <a:lstStyle/>
        <a:p>
          <a:endParaRPr lang="zh-CN" altLang="en-US" sz="2400" b="1"/>
        </a:p>
      </dgm:t>
    </dgm:pt>
    <dgm:pt modelId="{11717945-2509-401E-8C7B-4E86F8CEAC74}">
      <dgm:prSet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 sz="1800" b="1" dirty="0"/>
            <a:t>3. NPHIs are leading the efforts of core capacity building for public health emergencies</a:t>
          </a:r>
          <a:endParaRPr lang="zh-CN" sz="1800" b="1" dirty="0"/>
        </a:p>
      </dgm:t>
    </dgm:pt>
    <dgm:pt modelId="{FC08D64C-84A5-4FC6-9276-5553E082526B}" type="parTrans" cxnId="{989F33B2-390A-4B1D-BB13-88CA68A77D62}">
      <dgm:prSet/>
      <dgm:spPr/>
      <dgm:t>
        <a:bodyPr/>
        <a:lstStyle/>
        <a:p>
          <a:endParaRPr lang="zh-CN" altLang="en-US"/>
        </a:p>
      </dgm:t>
    </dgm:pt>
    <dgm:pt modelId="{6F7A2C8D-1845-47B1-982C-449B113CE608}" type="sibTrans" cxnId="{989F33B2-390A-4B1D-BB13-88CA68A77D62}">
      <dgm:prSet/>
      <dgm:spPr/>
      <dgm:t>
        <a:bodyPr/>
        <a:lstStyle/>
        <a:p>
          <a:endParaRPr lang="zh-CN" altLang="en-US"/>
        </a:p>
      </dgm:t>
    </dgm:pt>
    <dgm:pt modelId="{7A01222B-A9CF-4CCF-8ED6-E95B760D7672}" type="pres">
      <dgm:prSet presAssocID="{F6CAEC42-D649-4260-B911-E7837C5CA6F4}" presName="linear" presStyleCnt="0">
        <dgm:presLayoutVars>
          <dgm:animLvl val="lvl"/>
          <dgm:resizeHandles val="exact"/>
        </dgm:presLayoutVars>
      </dgm:prSet>
      <dgm:spPr/>
    </dgm:pt>
    <dgm:pt modelId="{90E3B786-0B29-4CAB-B3D4-3DDF0F87EB7B}" type="pres">
      <dgm:prSet presAssocID="{DF032A3F-E541-4755-A7F0-8E19E84E7C6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28CD8918-6DCD-4E87-B579-FB622D99F229}" type="pres">
      <dgm:prSet presAssocID="{7DC8A096-D6FC-462B-AFED-11E181CD89DE}" presName="spacer" presStyleCnt="0"/>
      <dgm:spPr/>
    </dgm:pt>
    <dgm:pt modelId="{6F484F9D-4ECA-417B-AAC3-89E4B3E42DB5}" type="pres">
      <dgm:prSet presAssocID="{0293EA8E-086B-48BC-B336-D0010A395401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266BDBF1-1769-4DCE-9049-0DEED869821E}" type="pres">
      <dgm:prSet presAssocID="{C20FFD2D-9526-4D13-A79D-24B4219E1980}" presName="spacer" presStyleCnt="0"/>
      <dgm:spPr/>
    </dgm:pt>
    <dgm:pt modelId="{53DFC893-0167-4089-9AF3-10C9398820A5}" type="pres">
      <dgm:prSet presAssocID="{BA4FA4BD-4A33-431C-B8EA-024D20FBE44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57959C46-42CF-4AC8-A680-D5899B5F9E5F}" type="pres">
      <dgm:prSet presAssocID="{4341FBAA-3762-4374-A9D4-AEA04EAF96A4}" presName="spacer" presStyleCnt="0"/>
      <dgm:spPr/>
    </dgm:pt>
    <dgm:pt modelId="{1EB9316A-A873-4A1B-9539-0AC912002689}" type="pres">
      <dgm:prSet presAssocID="{11717945-2509-401E-8C7B-4E86F8CEAC74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C186AE18-96A2-4ECE-84D7-CF4BACD913BD}" type="presOf" srcId="{F6CAEC42-D649-4260-B911-E7837C5CA6F4}" destId="{7A01222B-A9CF-4CCF-8ED6-E95B760D7672}" srcOrd="0" destOrd="0" presId="urn:microsoft.com/office/officeart/2005/8/layout/vList2#1"/>
    <dgm:cxn modelId="{72F38F1D-EBFF-49A8-BAB1-6E5DA9198A66}" type="presOf" srcId="{11717945-2509-401E-8C7B-4E86F8CEAC74}" destId="{1EB9316A-A873-4A1B-9539-0AC912002689}" srcOrd="0" destOrd="0" presId="urn:microsoft.com/office/officeart/2005/8/layout/vList2#1"/>
    <dgm:cxn modelId="{7187B263-1DF1-4136-9B1B-BFA0359960BA}" type="presOf" srcId="{BA4FA4BD-4A33-431C-B8EA-024D20FBE440}" destId="{53DFC893-0167-4089-9AF3-10C9398820A5}" srcOrd="0" destOrd="0" presId="urn:microsoft.com/office/officeart/2005/8/layout/vList2#1"/>
    <dgm:cxn modelId="{3F75246F-7334-4436-BEBB-3C9650DD9D28}" srcId="{F6CAEC42-D649-4260-B911-E7837C5CA6F4}" destId="{BA4FA4BD-4A33-431C-B8EA-024D20FBE440}" srcOrd="2" destOrd="0" parTransId="{D062B58B-C65C-43FB-A02D-E8A2BA99D445}" sibTransId="{4341FBAA-3762-4374-A9D4-AEA04EAF96A4}"/>
    <dgm:cxn modelId="{ABE64F9B-5D81-4087-89D4-96339AF01386}" type="presOf" srcId="{DF032A3F-E541-4755-A7F0-8E19E84E7C6B}" destId="{90E3B786-0B29-4CAB-B3D4-3DDF0F87EB7B}" srcOrd="0" destOrd="0" presId="urn:microsoft.com/office/officeart/2005/8/layout/vList2#1"/>
    <dgm:cxn modelId="{AEA06DA2-3844-43B7-8391-A6D3D9341C88}" srcId="{F6CAEC42-D649-4260-B911-E7837C5CA6F4}" destId="{0293EA8E-086B-48BC-B336-D0010A395401}" srcOrd="1" destOrd="0" parTransId="{5CACC511-201F-4EB3-9A57-B3E616C583F3}" sibTransId="{C20FFD2D-9526-4D13-A79D-24B4219E1980}"/>
    <dgm:cxn modelId="{EA2ABBAA-6360-4297-9DBA-0C1B7FAFCFA5}" type="presOf" srcId="{0293EA8E-086B-48BC-B336-D0010A395401}" destId="{6F484F9D-4ECA-417B-AAC3-89E4B3E42DB5}" srcOrd="0" destOrd="0" presId="urn:microsoft.com/office/officeart/2005/8/layout/vList2#1"/>
    <dgm:cxn modelId="{989F33B2-390A-4B1D-BB13-88CA68A77D62}" srcId="{F6CAEC42-D649-4260-B911-E7837C5CA6F4}" destId="{11717945-2509-401E-8C7B-4E86F8CEAC74}" srcOrd="3" destOrd="0" parTransId="{FC08D64C-84A5-4FC6-9276-5553E082526B}" sibTransId="{6F7A2C8D-1845-47B1-982C-449B113CE608}"/>
    <dgm:cxn modelId="{8ED036C6-D1A6-41AE-BCB6-E1CC803F1416}" srcId="{F6CAEC42-D649-4260-B911-E7837C5CA6F4}" destId="{DF032A3F-E541-4755-A7F0-8E19E84E7C6B}" srcOrd="0" destOrd="0" parTransId="{EEE7EC61-4560-4075-965A-CF6E2FA78A34}" sibTransId="{7DC8A096-D6FC-462B-AFED-11E181CD89DE}"/>
    <dgm:cxn modelId="{32E8279D-B326-4050-A85F-170D93FC3F09}" type="presParOf" srcId="{7A01222B-A9CF-4CCF-8ED6-E95B760D7672}" destId="{90E3B786-0B29-4CAB-B3D4-3DDF0F87EB7B}" srcOrd="0" destOrd="0" presId="urn:microsoft.com/office/officeart/2005/8/layout/vList2#1"/>
    <dgm:cxn modelId="{A40F8185-C6DB-4906-8DDE-9DF48CD83B75}" type="presParOf" srcId="{7A01222B-A9CF-4CCF-8ED6-E95B760D7672}" destId="{28CD8918-6DCD-4E87-B579-FB622D99F229}" srcOrd="1" destOrd="0" presId="urn:microsoft.com/office/officeart/2005/8/layout/vList2#1"/>
    <dgm:cxn modelId="{7D063D16-EAD7-43AE-894C-6D622BC0C0AA}" type="presParOf" srcId="{7A01222B-A9CF-4CCF-8ED6-E95B760D7672}" destId="{6F484F9D-4ECA-417B-AAC3-89E4B3E42DB5}" srcOrd="2" destOrd="0" presId="urn:microsoft.com/office/officeart/2005/8/layout/vList2#1"/>
    <dgm:cxn modelId="{0AF88A9D-2465-4C1E-BB6E-176D56EE67C4}" type="presParOf" srcId="{7A01222B-A9CF-4CCF-8ED6-E95B760D7672}" destId="{266BDBF1-1769-4DCE-9049-0DEED869821E}" srcOrd="3" destOrd="0" presId="urn:microsoft.com/office/officeart/2005/8/layout/vList2#1"/>
    <dgm:cxn modelId="{4A0AC96B-091E-4F54-AE0D-9180E4B5E529}" type="presParOf" srcId="{7A01222B-A9CF-4CCF-8ED6-E95B760D7672}" destId="{53DFC893-0167-4089-9AF3-10C9398820A5}" srcOrd="4" destOrd="0" presId="urn:microsoft.com/office/officeart/2005/8/layout/vList2#1"/>
    <dgm:cxn modelId="{4F1D8B35-49B5-46E4-8ECE-A6C86943717D}" type="presParOf" srcId="{7A01222B-A9CF-4CCF-8ED6-E95B760D7672}" destId="{57959C46-42CF-4AC8-A680-D5899B5F9E5F}" srcOrd="5" destOrd="0" presId="urn:microsoft.com/office/officeart/2005/8/layout/vList2#1"/>
    <dgm:cxn modelId="{AC2C134E-7ACB-4CA4-9FD3-116568805375}" type="presParOf" srcId="{7A01222B-A9CF-4CCF-8ED6-E95B760D7672}" destId="{1EB9316A-A873-4A1B-9539-0AC912002689}" srcOrd="6" destOrd="0" presId="urn:microsoft.com/office/officeart/2005/8/layout/vList2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E3B786-0B29-4CAB-B3D4-3DDF0F87EB7B}">
      <dsp:nvSpPr>
        <dsp:cNvPr id="0" name=""/>
        <dsp:cNvSpPr/>
      </dsp:nvSpPr>
      <dsp:spPr bwMode="white">
        <a:xfrm>
          <a:off x="0" y="0"/>
          <a:ext cx="5717788" cy="904753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39" tIns="91439" rIns="91439" bIns="91439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NPHIs provide </a:t>
          </a:r>
          <a:r>
            <a:rPr lang="en-US" sz="2400" b="1" u="sng" kern="1200" dirty="0"/>
            <a:t>workforce, expertise, and knowledge </a:t>
          </a:r>
          <a:r>
            <a:rPr lang="en-US" sz="2400" b="1" kern="1200" dirty="0"/>
            <a:t>to health security matters :</a:t>
          </a:r>
          <a:endParaRPr lang="zh-CN" sz="2400" b="1" kern="1200" dirty="0"/>
        </a:p>
      </dsp:txBody>
      <dsp:txXfrm>
        <a:off x="0" y="0"/>
        <a:ext cx="5717788" cy="904753"/>
      </dsp:txXfrm>
    </dsp:sp>
    <dsp:sp modelId="{6F484F9D-4ECA-417B-AAC3-89E4B3E42DB5}">
      <dsp:nvSpPr>
        <dsp:cNvPr id="0" name=""/>
        <dsp:cNvSpPr/>
      </dsp:nvSpPr>
      <dsp:spPr bwMode="white">
        <a:xfrm>
          <a:off x="0" y="919128"/>
          <a:ext cx="5717788" cy="904753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1. NPHIs across the world have been at the frontline of the response to public health emergencies domestically and globally</a:t>
          </a:r>
          <a:endParaRPr lang="zh-CN" sz="1800" b="1" kern="1200" dirty="0"/>
        </a:p>
      </dsp:txBody>
      <dsp:txXfrm>
        <a:off x="0" y="919128"/>
        <a:ext cx="5717788" cy="904753"/>
      </dsp:txXfrm>
    </dsp:sp>
    <dsp:sp modelId="{53DFC893-0167-4089-9AF3-10C9398820A5}">
      <dsp:nvSpPr>
        <dsp:cNvPr id="0" name=""/>
        <dsp:cNvSpPr/>
      </dsp:nvSpPr>
      <dsp:spPr bwMode="white">
        <a:xfrm>
          <a:off x="0" y="1838255"/>
          <a:ext cx="5717788" cy="904753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2. NPHIs provide evidence-based advices in shaping public health security legislations and policies </a:t>
          </a:r>
          <a:endParaRPr lang="zh-CN" sz="1800" b="1" kern="1200" dirty="0"/>
        </a:p>
      </dsp:txBody>
      <dsp:txXfrm>
        <a:off x="0" y="1838255"/>
        <a:ext cx="5717788" cy="904753"/>
      </dsp:txXfrm>
    </dsp:sp>
    <dsp:sp modelId="{1EB9316A-A873-4A1B-9539-0AC912002689}">
      <dsp:nvSpPr>
        <dsp:cNvPr id="0" name=""/>
        <dsp:cNvSpPr/>
      </dsp:nvSpPr>
      <dsp:spPr bwMode="white">
        <a:xfrm>
          <a:off x="0" y="2757383"/>
          <a:ext cx="5717788" cy="904753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hemeClr val="lt1"/>
        </a:lnRef>
        <a:fillRef idx="1">
          <a:schemeClr val="accent1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3. NPHIs are leading the efforts of core capacity building for public health emergencies</a:t>
          </a:r>
          <a:endParaRPr lang="zh-CN" sz="1800" b="1" kern="1200" dirty="0"/>
        </a:p>
      </dsp:txBody>
      <dsp:txXfrm>
        <a:off x="0" y="2757383"/>
        <a:ext cx="5717788" cy="9047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#1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B08BF4-ACE6-9943-AFBC-0E03144A4B56}" type="datetimeFigureOut">
              <a:rPr lang="en-US"/>
              <a:t>11/2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8" name="Espace réservé de l'en-tête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1CEC859A-5609-E44D-A2E5-50FAA3A6E458}" type="slidenum">
              <a:rPr lang="en-US" altLang="zh-CN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DC8001-8FE8-40A8-9219-384F892CC044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1CEC859A-5609-E44D-A2E5-50FAA3A6E458}" type="slidenum">
              <a:rPr lang="en-US" smtClean="0"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1CEC859A-5609-E44D-A2E5-50FAA3A6E458}" type="slidenum">
              <a:rPr lang="en-US" altLang="zh-CN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" name="Shape 1196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97" name="Shape 1197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742E2BE0-EDD1-4F54-9DFA-2506F969F5ED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1CEC859A-5609-E44D-A2E5-50FAA3A6E458}" type="slidenum">
              <a:rPr lang="en-US" altLang="zh-CN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1CEC859A-5609-E44D-A2E5-50FAA3A6E458}" type="slidenum">
              <a:rPr lang="en-US" altLang="zh-CN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742E2BE0-EDD1-4F54-9DFA-2506F969F5ED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1CEC859A-5609-E44D-A2E5-50FAA3A6E458}" type="slidenum">
              <a:rPr lang="en-US" altLang="zh-CN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/ 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114800" y="1"/>
            <a:ext cx="8077200" cy="6858000"/>
          </a:xfrm>
          <a:prstGeom prst="rect">
            <a:avLst/>
          </a:prstGeom>
          <a:solidFill>
            <a:srgbClr val="2C70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5109935" y="1616983"/>
            <a:ext cx="6243865" cy="4472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Insert presentation title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7F639-11CE-47EF-89B8-EB7B9E007B87}" type="datetime1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EB1C2-BEB2-47DF-BB0A-A94DB9FDE70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6834" y="1587377"/>
            <a:ext cx="11106151" cy="4519084"/>
          </a:xfrm>
        </p:spPr>
        <p:txBody>
          <a:bodyPr/>
          <a:lstStyle>
            <a:lvl1pPr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defRPr sz="1865" b="1" baseline="0"/>
            </a:lvl1pPr>
            <a:lvl2pPr marL="228600" indent="-22860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2400"/>
            </a:lvl2pPr>
            <a:lvl3pPr marL="457200" indent="-22860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defRPr sz="1600" baseline="0"/>
            </a:lvl3pPr>
            <a:lvl4pPr marL="687705" indent="-230505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6305" indent="-228600">
              <a:lnSpc>
                <a:spcPct val="150000"/>
              </a:lnSpc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41" y="646262"/>
            <a:ext cx="11106151" cy="697577"/>
          </a:xfrm>
        </p:spPr>
        <p:txBody>
          <a:bodyPr/>
          <a:lstStyle>
            <a:lvl1pPr>
              <a:defRPr sz="2665" cap="none" baseline="0"/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4"/>
          </p:nvPr>
        </p:nvSpPr>
        <p:spPr bwMode="auto">
          <a:xfrm>
            <a:off x="0" y="0"/>
            <a:ext cx="0" cy="0"/>
          </a:xfrm>
          <a:prstGeom prst="rect">
            <a:avLst/>
          </a:prstGeom>
        </p:spPr>
        <p:txBody>
          <a:bodyPr vert="horz" wrap="square" lIns="68576" tIns="34289" rIns="68576" bIns="34289" numCol="1" anchor="t" anchorCtr="0" compatLnSpc="1"/>
          <a:lstStyle>
            <a:lvl1pPr algn="r" hangingPunct="0">
              <a:defRPr kumimoji="0" sz="135">
                <a:solidFill>
                  <a:srgbClr val="000000"/>
                </a:solidFill>
                <a:sym typeface="Helvetica" panose="020B0604020202020204" pitchFamily="2" charset="0"/>
              </a:defRPr>
            </a:lvl1pPr>
          </a:lstStyle>
          <a:p>
            <a:r>
              <a:rPr lang="en-US" altLang="en-US"/>
              <a:t>Harvard Global Health Governance Executive Course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70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729932"/>
            <a:ext cx="9144000" cy="1398135"/>
          </a:xfrm>
        </p:spPr>
        <p:txBody>
          <a:bodyPr anchor="b">
            <a:normAutofit/>
          </a:bodyPr>
          <a:lstStyle>
            <a:lvl1pPr algn="ctr"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46" y="2624137"/>
            <a:ext cx="3932237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2C70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928" y="1404257"/>
            <a:ext cx="6052460" cy="46482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bg>
      <p:bgPr>
        <a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16000"/>
                    </a14:imgEffect>
                  </a14:imgLayer>
                </a14:imgProps>
              </a:ext>
            </a:extLst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838200" y="2942545"/>
            <a:ext cx="10515600" cy="3234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9"/>
            <a:ext cx="4567464" cy="1033462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2C70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026229"/>
            <a:ext cx="4567464" cy="306342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0"/>
          </p:nvPr>
        </p:nvSpPr>
        <p:spPr>
          <a:xfrm>
            <a:off x="6694714" y="992187"/>
            <a:ext cx="4876800" cy="492964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rgbClr val="2C70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47116" y="1807029"/>
            <a:ext cx="4567464" cy="1033462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2C70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7116" y="3102432"/>
            <a:ext cx="4567464" cy="32112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0"/>
          </p:nvPr>
        </p:nvSpPr>
        <p:spPr>
          <a:xfrm>
            <a:off x="642257" y="1807029"/>
            <a:ext cx="4778829" cy="450668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013F7-8E35-4E5C-931E-A24C490E4400}" type="datetime1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2024/11/20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53349-22C8-4AB4-A745-72699350EF1B}" type="datetime1">
              <a:rPr lang="zh-CN" altLang="en-US" smtClean="0"/>
              <a:t>2024/11/20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1EB1C2-BEB2-47DF-BB0A-A94DB9FDE70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3377" y="658207"/>
            <a:ext cx="10515600" cy="984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377" y="1880099"/>
            <a:ext cx="10515600" cy="3234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5" name="Image 5" descr="Une image contenant texte, Police, Graphique, capture d’écran&#10;&#10;Description générée automatiquement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670" b="16429"/>
          <a:stretch>
            <a:fillRect/>
          </a:stretch>
        </p:blipFill>
        <p:spPr>
          <a:xfrm>
            <a:off x="0" y="5541814"/>
            <a:ext cx="12182354" cy="129309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2C70BA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38.png"/><Relationship Id="rId5" Type="http://schemas.openxmlformats.org/officeDocument/2006/relationships/image" Target="../media/image1.png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9.jpeg"/><Relationship Id="rId10" Type="http://schemas.openxmlformats.org/officeDocument/2006/relationships/image" Target="../media/image4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5.xml"/><Relationship Id="rId7" Type="http://schemas.openxmlformats.org/officeDocument/2006/relationships/image" Target="../media/image12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5.jpeg"/><Relationship Id="rId4" Type="http://schemas.openxmlformats.org/officeDocument/2006/relationships/tags" Target="../tags/tag6.xml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982" y="3698638"/>
            <a:ext cx="12178018" cy="1064577"/>
          </a:xfrm>
        </p:spPr>
        <p:txBody>
          <a:bodyPr>
            <a:normAutofit fontScale="90000"/>
          </a:bodyPr>
          <a:lstStyle/>
          <a:p>
            <a:pPr algn="ctr">
              <a:lnSpc>
                <a:spcPts val="2400"/>
              </a:lnSpc>
              <a:spcBef>
                <a:spcPts val="600"/>
              </a:spcBef>
            </a:pPr>
            <a:r>
              <a:rPr lang="en-US" sz="3600" b="1" dirty="0">
                <a:solidFill>
                  <a:srgbClr val="0F3858"/>
                </a:solidFill>
              </a:rPr>
              <a:t>Prof. </a:t>
            </a:r>
            <a:r>
              <a:rPr lang="en-US" sz="3600" b="1" dirty="0" err="1">
                <a:solidFill>
                  <a:srgbClr val="0F3858"/>
                </a:solidFill>
              </a:rPr>
              <a:t>Hongbing</a:t>
            </a:r>
            <a:r>
              <a:rPr lang="en-US" sz="3600" b="1" dirty="0">
                <a:solidFill>
                  <a:srgbClr val="0F3858"/>
                </a:solidFill>
              </a:rPr>
              <a:t> Shen</a:t>
            </a:r>
            <a:br>
              <a:rPr lang="en-US" sz="3600" b="1" dirty="0">
                <a:solidFill>
                  <a:srgbClr val="0F3858"/>
                </a:solidFill>
              </a:rPr>
            </a:br>
            <a:br>
              <a:rPr lang="en-US" dirty="0">
                <a:solidFill>
                  <a:srgbClr val="0F3858"/>
                </a:solidFill>
              </a:rPr>
            </a:br>
            <a:r>
              <a:rPr lang="en-US" sz="2200" dirty="0">
                <a:solidFill>
                  <a:srgbClr val="0F3858"/>
                </a:solidFill>
              </a:rPr>
              <a:t>Director-General, Chinese Center for Disease Control and Prevention</a:t>
            </a:r>
            <a:br>
              <a:rPr lang="en-US" sz="2200" dirty="0">
                <a:solidFill>
                  <a:srgbClr val="0F3858"/>
                </a:solidFill>
              </a:rPr>
            </a:br>
            <a:r>
              <a:rPr lang="en-US" sz="2200" dirty="0">
                <a:solidFill>
                  <a:srgbClr val="0F3858"/>
                </a:solidFill>
              </a:rPr>
              <a:t>Deputy Director-General, National Disease Control and Prevention Administration, P. R. China</a:t>
            </a:r>
            <a:endParaRPr lang="fr-FR" dirty="0">
              <a:solidFill>
                <a:srgbClr val="0F3858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99253" y="982874"/>
            <a:ext cx="10178346" cy="1447639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altLang="zh-CN" sz="3600" b="1" kern="0" spc="200" dirty="0">
                <a:solidFill>
                  <a:srgbClr val="5AAE45"/>
                </a:solidFill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ptimize National Public Health Institutes in Safeguarding Global Health Security</a:t>
            </a:r>
          </a:p>
        </p:txBody>
      </p:sp>
      <p:pic>
        <p:nvPicPr>
          <p:cNvPr id="6" name="Image 5" descr="Une image contenant texte, Police, Graphique, capture d’écran&#10;&#10;Description générée automatiquement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670" b="16429"/>
          <a:stretch>
            <a:fillRect/>
          </a:stretch>
        </p:blipFill>
        <p:spPr>
          <a:xfrm>
            <a:off x="0" y="5541814"/>
            <a:ext cx="12182354" cy="1293091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1055" y="1002030"/>
            <a:ext cx="3705860" cy="2564130"/>
          </a:xfrm>
          <a:prstGeom prst="ellipse">
            <a:avLst/>
          </a:prstGeom>
          <a:ln>
            <a:noFill/>
          </a:ln>
          <a:effectLst>
            <a:softEdge rad="114300"/>
          </a:effectLst>
        </p:spPr>
      </p:pic>
      <p:pic>
        <p:nvPicPr>
          <p:cNvPr id="4" name="图片 3" descr="微信图片_2024090223060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78825" y="3759200"/>
            <a:ext cx="3693795" cy="2542540"/>
          </a:xfrm>
          <a:prstGeom prst="rect">
            <a:avLst/>
          </a:prstGeom>
          <a:effectLst>
            <a:softEdge rad="228600"/>
          </a:effectLst>
        </p:spPr>
      </p:pic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>
          <a:xfrm>
            <a:off x="3841115" y="1316355"/>
            <a:ext cx="5043170" cy="4519295"/>
          </a:xfrm>
        </p:spPr>
        <p:txBody>
          <a:bodyPr>
            <a:noAutofit/>
          </a:bodyPr>
          <a:lstStyle/>
          <a:p>
            <a:pPr lvl="1">
              <a:lnSpc>
                <a:spcPct val="100000"/>
              </a:lnSpc>
              <a:buClrTx/>
            </a:pPr>
            <a:r>
              <a:rPr lang="en-US" altLang="zh-CN" sz="1800" b="1" dirty="0">
                <a:ea typeface="宋体" panose="02010600030101010101" pitchFamily="2" charset="-122"/>
              </a:rPr>
              <a:t>Founding partner of Africa CDC</a:t>
            </a:r>
          </a:p>
          <a:p>
            <a:pPr lvl="2">
              <a:lnSpc>
                <a:spcPct val="100000"/>
              </a:lnSpc>
            </a:pPr>
            <a:r>
              <a:rPr lang="en-US" altLang="zh-CN" dirty="0"/>
              <a:t>Joined the ACDC task force meeting and multinational working group meeting</a:t>
            </a:r>
          </a:p>
          <a:p>
            <a:pPr lvl="2">
              <a:lnSpc>
                <a:spcPct val="100000"/>
              </a:lnSpc>
            </a:pPr>
            <a:r>
              <a:rPr lang="en-US" altLang="zh-CN" dirty="0"/>
              <a:t>Provided support in implementation plan drafting, RCC selection and external evaluation</a:t>
            </a:r>
          </a:p>
          <a:p>
            <a:pPr lvl="2">
              <a:lnSpc>
                <a:spcPct val="100000"/>
              </a:lnSpc>
            </a:pPr>
            <a:r>
              <a:rPr lang="en-US" altLang="zh-CN" dirty="0"/>
              <a:t>Trained ACDC fellows </a:t>
            </a:r>
          </a:p>
          <a:p>
            <a:pPr lvl="1">
              <a:lnSpc>
                <a:spcPct val="100000"/>
              </a:lnSpc>
              <a:buClrTx/>
            </a:pPr>
            <a:r>
              <a:rPr lang="it-IT" altLang="zh-CN" sz="1800" b="1" dirty="0">
                <a:ea typeface="宋体" panose="02010600030101010101" pitchFamily="2" charset="-122"/>
              </a:rPr>
              <a:t>BSL-3 Laboratory in Sierra Leone</a:t>
            </a:r>
          </a:p>
          <a:p>
            <a:pPr lvl="2">
              <a:lnSpc>
                <a:spcPct val="100000"/>
              </a:lnSpc>
              <a:buClrTx/>
            </a:pPr>
            <a:r>
              <a:rPr lang="en-US" altLang="zh-CN" dirty="0">
                <a:ea typeface="宋体" panose="02010600030101010101" pitchFamily="2" charset="-122"/>
              </a:rPr>
              <a:t>Since 2014, over 200 China CDC staff were deployed to the lab for short and long-term support</a:t>
            </a:r>
          </a:p>
          <a:p>
            <a:pPr lvl="1">
              <a:lnSpc>
                <a:spcPct val="100000"/>
              </a:lnSpc>
              <a:buClrTx/>
            </a:pPr>
            <a:r>
              <a:rPr lang="en-US" altLang="zh-CN" sz="1800" b="1" dirty="0">
                <a:ea typeface="宋体" panose="02010600030101010101" pitchFamily="2" charset="-122"/>
              </a:rPr>
              <a:t>Assigned senior experts working in Africa CDC</a:t>
            </a:r>
          </a:p>
          <a:p>
            <a:pPr lvl="2">
              <a:lnSpc>
                <a:spcPct val="100000"/>
              </a:lnSpc>
            </a:pPr>
            <a:r>
              <a:rPr lang="en-US" altLang="zh-CN" dirty="0"/>
              <a:t> 2 experts per year</a:t>
            </a:r>
          </a:p>
          <a:p>
            <a:pPr lvl="1">
              <a:lnSpc>
                <a:spcPct val="100000"/>
              </a:lnSpc>
              <a:buClrTx/>
            </a:pPr>
            <a:r>
              <a:rPr lang="en-US" altLang="zh-CN" sz="1800" b="1" dirty="0">
                <a:ea typeface="宋体" panose="02010600030101010101" pitchFamily="2" charset="-122"/>
              </a:rPr>
              <a:t> Convened high level meetings</a:t>
            </a:r>
          </a:p>
          <a:p>
            <a:pPr lvl="1">
              <a:lnSpc>
                <a:spcPct val="100000"/>
              </a:lnSpc>
              <a:buClrTx/>
            </a:pPr>
            <a:r>
              <a:rPr lang="en-US" altLang="zh-CN" sz="1800" b="1" dirty="0">
                <a:ea typeface="宋体" panose="02010600030101010101" pitchFamily="2" charset="-122"/>
              </a:rPr>
              <a:t> Bilateral visit exchange between China and African countries </a:t>
            </a:r>
            <a:endParaRPr lang="zh-CN" altLang="en-US" sz="1800" b="1" dirty="0">
              <a:ea typeface="宋体" panose="02010600030101010101" pitchFamily="2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934460"/>
            <a:ext cx="3909060" cy="236728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430" y="1316355"/>
            <a:ext cx="3988435" cy="245999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811703" y="304560"/>
            <a:ext cx="6458245" cy="697577"/>
          </a:xfrm>
        </p:spPr>
        <p:txBody>
          <a:bodyPr/>
          <a:lstStyle/>
          <a:p>
            <a:r>
              <a:rPr lang="en-US" altLang="zh-CN" sz="2800" b="1" dirty="0"/>
              <a:t>China-Africa Collaboration</a:t>
            </a:r>
          </a:p>
        </p:txBody>
      </p:sp>
    </p:spTree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内容占位符 3" descr="设计文件2.jpg"/>
          <p:cNvPicPr preferRelativeResize="0">
            <a:picLocks noGrp="1"/>
          </p:cNvPicPr>
          <p:nvPr>
            <p:ph idx="1"/>
          </p:nvPr>
        </p:nvPicPr>
        <p:blipFill>
          <a:blip r:embed="rId4"/>
          <a:srcRect/>
          <a:stretch>
            <a:fillRect/>
          </a:stretch>
        </p:blipFill>
        <p:spPr>
          <a:xfrm>
            <a:off x="0" y="0"/>
            <a:ext cx="8979535" cy="5541645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9345" y="2163445"/>
            <a:ext cx="6092825" cy="1767840"/>
          </a:xfrm>
        </p:spPr>
        <p:txBody>
          <a:bodyPr>
            <a:normAutofit/>
          </a:bodyPr>
          <a:lstStyle/>
          <a:p>
            <a:pPr algn="ctr"/>
            <a:r>
              <a:rPr lang="zh-CN" altLang="en-US" sz="4000" b="1">
                <a:solidFill>
                  <a:srgbClr val="5AAE45"/>
                </a:solidFill>
                <a:latin typeface="Colonna MT" panose="04020805060202030203" charset="0"/>
                <a:ea typeface="+mn-ea"/>
                <a:cs typeface="Colonna MT" panose="04020805060202030203" charset="0"/>
              </a:rPr>
              <a:t>Thank you</a:t>
            </a:r>
            <a:br>
              <a:rPr lang="en-US" sz="4800" b="1" spc="300" dirty="0">
                <a:solidFill>
                  <a:schemeClr val="accent1"/>
                </a:solidFill>
                <a:latin typeface="+mj-lt"/>
                <a:cs typeface="+mj-lt"/>
              </a:rPr>
            </a:br>
            <a:br>
              <a:rPr lang="en-US" sz="2000" b="1" spc="300" dirty="0">
                <a:solidFill>
                  <a:schemeClr val="accent1"/>
                </a:solidFill>
                <a:latin typeface="+mj-lt"/>
                <a:cs typeface="+mj-lt"/>
              </a:rPr>
            </a:br>
            <a:endParaRPr lang="en-US" sz="2000" b="1" spc="300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9604375" y="2103755"/>
            <a:ext cx="1802130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/>
            <a:r>
              <a:rPr lang="en-US" altLang="zh-CN" sz="4000" b="1" i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dvent Pro" panose="02000506040000020004" charset="0"/>
                <a:ea typeface="-apple-system"/>
                <a:cs typeface="Advent Pro" panose="02000506040000020004" charset="0"/>
              </a:rPr>
              <a:t>Origado</a:t>
            </a:r>
          </a:p>
        </p:txBody>
      </p:sp>
      <p:pic>
        <p:nvPicPr>
          <p:cNvPr id="6" name="Image 5" descr="Une image contenant texte, Police, Graphique, capture d’écran&#10;&#10;Description générée automatiquement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670" b="16429"/>
          <a:stretch>
            <a:fillRect/>
          </a:stretch>
        </p:blipFill>
        <p:spPr>
          <a:xfrm>
            <a:off x="0" y="5541814"/>
            <a:ext cx="12182354" cy="1293091"/>
          </a:xfrm>
          <a:prstGeom prst="rect">
            <a:avLst/>
          </a:prstGeom>
        </p:spPr>
      </p:pic>
      <p:pic>
        <p:nvPicPr>
          <p:cNvPr id="3" name="Picture 15" descr="未标题-1 拷贝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4980" y="3401060"/>
            <a:ext cx="2150110" cy="2140585"/>
          </a:xfrm>
          <a:prstGeom prst="rect">
            <a:avLst/>
          </a:prstGeom>
          <a:noFill/>
          <a:ln>
            <a:noFill/>
          </a:ln>
          <a:effectLst>
            <a:softEdge rad="508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795" y="384175"/>
            <a:ext cx="11263630" cy="575945"/>
          </a:xfrm>
        </p:spPr>
        <p:txBody>
          <a:bodyPr>
            <a:noAutofit/>
          </a:bodyPr>
          <a:lstStyle/>
          <a:p>
            <a:r>
              <a:rPr lang="en-US" b="1" kern="0" dirty="0">
                <a:solidFill>
                  <a:srgbClr val="2C70BA"/>
                </a:solidFill>
                <a:uFillTx/>
              </a:rPr>
              <a:t>Recognizing NPHIs’ central role in addressing public health security</a:t>
            </a:r>
          </a:p>
        </p:txBody>
      </p:sp>
      <p:graphicFrame>
        <p:nvGraphicFramePr>
          <p:cNvPr id="20" name="图示 19"/>
          <p:cNvGraphicFramePr/>
          <p:nvPr/>
        </p:nvGraphicFramePr>
        <p:xfrm>
          <a:off x="831850" y="1597996"/>
          <a:ext cx="5717788" cy="3662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Image 6" descr="Une image contenant texte, Police, Graphique, capture d’écran&#10;&#10;Description générée automatiquement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381" b="19424"/>
          <a:stretch>
            <a:fillRect/>
          </a:stretch>
        </p:blipFill>
        <p:spPr>
          <a:xfrm>
            <a:off x="0" y="5660148"/>
            <a:ext cx="12182354" cy="119149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77232" y="2674225"/>
            <a:ext cx="2218989" cy="819483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474890" y="1749778"/>
            <a:ext cx="1991765" cy="85789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905491" y="1905395"/>
            <a:ext cx="1134874" cy="985922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419" y="3158942"/>
            <a:ext cx="1439359" cy="108035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3224" y="4565868"/>
            <a:ext cx="1192019" cy="493657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7811821" y="1154863"/>
            <a:ext cx="30603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dirty="0"/>
              <a:t>NPHIs in over 100 countries</a:t>
            </a:r>
            <a:endParaRPr lang="zh-CN" altLang="en-US" sz="20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58098" y="4648807"/>
            <a:ext cx="2393416" cy="601826"/>
          </a:xfrm>
          <a:prstGeom prst="rect">
            <a:avLst/>
          </a:prstGeom>
        </p:spPr>
      </p:pic>
      <p:pic>
        <p:nvPicPr>
          <p:cNvPr id="1030" name="Picture 6" descr="Kadazandusun Cultural Association Sabah (KDCA) Logo PNG Vector (AI ...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7073" y="3505062"/>
            <a:ext cx="965895" cy="843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703243" y="3303174"/>
            <a:ext cx="1333500" cy="118110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184381" y="4373299"/>
            <a:ext cx="905878" cy="986538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矩形 58"/>
          <p:cNvSpPr/>
          <p:nvPr/>
        </p:nvSpPr>
        <p:spPr>
          <a:xfrm>
            <a:off x="-12700" y="3467100"/>
            <a:ext cx="12214225" cy="3390265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7664" name="Text Box 25"/>
          <p:cNvSpPr txBox="1">
            <a:spLocks noChangeArrowheads="1"/>
          </p:cNvSpPr>
          <p:nvPr/>
        </p:nvSpPr>
        <p:spPr bwMode="gray">
          <a:xfrm>
            <a:off x="1900195" y="2611590"/>
            <a:ext cx="955666" cy="19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1000" tIns="48600" rIns="945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1" lang="zh-CN" altLang="zh-CN" sz="1050" b="1" i="0" u="none" strike="noStrike" kern="1200" cap="none" spc="0" normalizeH="0" baseline="0" noProof="1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66" name="Text Box 34"/>
          <p:cNvSpPr txBox="1">
            <a:spLocks noChangeArrowheads="1"/>
          </p:cNvSpPr>
          <p:nvPr/>
        </p:nvSpPr>
        <p:spPr bwMode="gray">
          <a:xfrm>
            <a:off x="4354767" y="4210625"/>
            <a:ext cx="1366820" cy="19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1000" tIns="48600" rIns="945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795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defRPr/>
            </a:pPr>
            <a:endParaRPr kumimoji="1" lang="en-US" altLang="zh-CN" sz="105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67" name="Text Box 55"/>
          <p:cNvSpPr txBox="1">
            <a:spLocks noChangeArrowheads="1"/>
          </p:cNvSpPr>
          <p:nvPr/>
        </p:nvSpPr>
        <p:spPr bwMode="gray">
          <a:xfrm>
            <a:off x="-40109" y="2553169"/>
            <a:ext cx="1119138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1000" tIns="48600" rIns="945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Hand, foot and mouth disease in Cambodia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3" name="右箭头 52"/>
          <p:cNvSpPr/>
          <p:nvPr/>
        </p:nvSpPr>
        <p:spPr bwMode="auto">
          <a:xfrm>
            <a:off x="-97790" y="3002996"/>
            <a:ext cx="12416442" cy="681037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79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69" name="Text Box 35"/>
          <p:cNvSpPr txBox="1">
            <a:spLocks noChangeArrowheads="1"/>
          </p:cNvSpPr>
          <p:nvPr/>
        </p:nvSpPr>
        <p:spPr bwMode="gray">
          <a:xfrm>
            <a:off x="1949205" y="2418755"/>
            <a:ext cx="1116146" cy="760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1000" tIns="48600" rIns="94500">
            <a:spAutoFit/>
          </a:bodyPr>
          <a:lstStyle>
            <a:defPPr>
              <a:defRPr lang="zh-CN"/>
            </a:defPPr>
            <a:lvl1pPr marL="171450" indent="-171450" eaLnBrk="0" hangingPunct="0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kumimoji="1" sz="1200" b="1">
                <a:solidFill>
                  <a:srgbClr val="4F81BD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defRPr>
            </a:lvl1pPr>
            <a:lvl2pPr marL="742950" indent="-28575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Eobla</a:t>
            </a: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 in West Africa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ts val="11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Typhoon in Philippine</a:t>
            </a:r>
          </a:p>
        </p:txBody>
      </p:sp>
      <p:sp>
        <p:nvSpPr>
          <p:cNvPr id="27670" name="Text Box 35"/>
          <p:cNvSpPr txBox="1">
            <a:spLocks noChangeArrowheads="1"/>
          </p:cNvSpPr>
          <p:nvPr/>
        </p:nvSpPr>
        <p:spPr bwMode="gray">
          <a:xfrm>
            <a:off x="4109977" y="2714957"/>
            <a:ext cx="930469" cy="478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1000" tIns="48600" rIns="94500">
            <a:spAutoFit/>
          </a:bodyPr>
          <a:lstStyle>
            <a:defPPr>
              <a:defRPr lang="zh-CN"/>
            </a:defPPr>
            <a:lvl1pPr marL="171450" indent="-171450" eaLnBrk="0" hangingPunct="0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kumimoji="1" sz="1200" b="1">
                <a:solidFill>
                  <a:srgbClr val="4F81BD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defRPr>
            </a:lvl1pPr>
            <a:lvl2pPr marL="742950" indent="-28575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Yellow fever in Agra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Tahoma" panose="020B0604030504040204" pitchFamily="34" charset="0"/>
            </a:endParaRPr>
          </a:p>
        </p:txBody>
      </p:sp>
      <p:sp>
        <p:nvSpPr>
          <p:cNvPr id="27674" name="文本框 3"/>
          <p:cNvSpPr txBox="1">
            <a:spLocks noChangeArrowheads="1"/>
          </p:cNvSpPr>
          <p:nvPr/>
        </p:nvSpPr>
        <p:spPr bwMode="auto">
          <a:xfrm>
            <a:off x="224577" y="3276886"/>
            <a:ext cx="955664" cy="19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2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75" name="文本框 3"/>
          <p:cNvSpPr txBox="1">
            <a:spLocks noChangeArrowheads="1"/>
          </p:cNvSpPr>
          <p:nvPr/>
        </p:nvSpPr>
        <p:spPr bwMode="auto">
          <a:xfrm>
            <a:off x="970690" y="3270810"/>
            <a:ext cx="955664" cy="19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3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76" name="文本框 3"/>
          <p:cNvSpPr txBox="1">
            <a:spLocks noChangeArrowheads="1"/>
          </p:cNvSpPr>
          <p:nvPr/>
        </p:nvSpPr>
        <p:spPr bwMode="auto">
          <a:xfrm>
            <a:off x="2056847" y="3263355"/>
            <a:ext cx="955664" cy="19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4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77" name="文本框 3"/>
          <p:cNvSpPr txBox="1">
            <a:spLocks noChangeArrowheads="1"/>
          </p:cNvSpPr>
          <p:nvPr/>
        </p:nvSpPr>
        <p:spPr bwMode="auto">
          <a:xfrm>
            <a:off x="3123839" y="3269590"/>
            <a:ext cx="955664" cy="19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5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78" name="文本框 3"/>
          <p:cNvSpPr txBox="1">
            <a:spLocks noChangeArrowheads="1"/>
          </p:cNvSpPr>
          <p:nvPr/>
        </p:nvSpPr>
        <p:spPr bwMode="auto">
          <a:xfrm>
            <a:off x="4096907" y="3266053"/>
            <a:ext cx="955664" cy="193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2016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80" name="Line 19"/>
          <p:cNvSpPr>
            <a:spLocks noChangeShapeType="1"/>
          </p:cNvSpPr>
          <p:nvPr/>
        </p:nvSpPr>
        <p:spPr bwMode="gray">
          <a:xfrm flipV="1">
            <a:off x="911424" y="3548138"/>
            <a:ext cx="0" cy="591014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81" name="Line 19"/>
          <p:cNvSpPr>
            <a:spLocks noChangeShapeType="1"/>
          </p:cNvSpPr>
          <p:nvPr/>
        </p:nvSpPr>
        <p:spPr bwMode="gray">
          <a:xfrm flipV="1">
            <a:off x="1991544" y="3548138"/>
            <a:ext cx="0" cy="591014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82" name="Line 19"/>
          <p:cNvSpPr>
            <a:spLocks noChangeShapeType="1"/>
          </p:cNvSpPr>
          <p:nvPr/>
        </p:nvSpPr>
        <p:spPr bwMode="gray">
          <a:xfrm flipV="1">
            <a:off x="3143672" y="3547370"/>
            <a:ext cx="0" cy="583371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ts val="79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39951" name="Text Box 32"/>
          <p:cNvSpPr txBox="1">
            <a:spLocks noChangeArrowheads="1"/>
          </p:cNvSpPr>
          <p:nvPr/>
        </p:nvSpPr>
        <p:spPr bwMode="gray">
          <a:xfrm>
            <a:off x="926754" y="3604998"/>
            <a:ext cx="1133649" cy="1196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1000" tIns="48600" rIns="945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H7N9</a:t>
            </a:r>
          </a:p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Lushan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Radioactive contamination of food in Xinjiang</a:t>
            </a:r>
            <a:endParaRPr kumimoji="1" lang="en-US" altLang="zh-CN" sz="10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7654" name="Line 19"/>
          <p:cNvSpPr>
            <a:spLocks noChangeShapeType="1"/>
          </p:cNvSpPr>
          <p:nvPr/>
        </p:nvSpPr>
        <p:spPr bwMode="gray">
          <a:xfrm flipV="1">
            <a:off x="4099625" y="3562382"/>
            <a:ext cx="0" cy="570149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7655" name="矩形 5"/>
          <p:cNvSpPr>
            <a:spLocks noChangeArrowheads="1"/>
          </p:cNvSpPr>
          <p:nvPr/>
        </p:nvSpPr>
        <p:spPr bwMode="auto">
          <a:xfrm>
            <a:off x="-41275" y="3562350"/>
            <a:ext cx="1120140" cy="13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West Nile Virus Disease</a:t>
            </a: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Yiliang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PUA,Yunnan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57" name="矩形 6"/>
          <p:cNvSpPr>
            <a:spLocks noChangeArrowheads="1"/>
          </p:cNvSpPr>
          <p:nvPr/>
        </p:nvSpPr>
        <p:spPr bwMode="auto">
          <a:xfrm>
            <a:off x="1963022" y="3546949"/>
            <a:ext cx="1280765" cy="1833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Pneumonic plague epidemic in </a:t>
            </a: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Jiuquan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Ludian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Poisoning by pseudomonas coir in </a:t>
            </a: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Wenshan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58" name="矩形 7"/>
          <p:cNvSpPr>
            <a:spLocks noChangeArrowheads="1"/>
          </p:cNvSpPr>
          <p:nvPr/>
        </p:nvSpPr>
        <p:spPr bwMode="auto">
          <a:xfrm>
            <a:off x="3112000" y="3534725"/>
            <a:ext cx="1018887" cy="13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MERS,Guangdong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xplosion at Tianjin Port</a:t>
            </a: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Shigatse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659" name="矩形 8"/>
          <p:cNvSpPr>
            <a:spLocks noChangeArrowheads="1"/>
          </p:cNvSpPr>
          <p:nvPr/>
        </p:nvSpPr>
        <p:spPr bwMode="auto">
          <a:xfrm>
            <a:off x="4077411" y="3565354"/>
            <a:ext cx="1132442" cy="116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ZIKA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Rhabdomyolysis </a:t>
            </a:r>
          </a:p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Yellow fever</a:t>
            </a:r>
          </a:p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Rift Valley Fever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7" name="Text Box 35"/>
          <p:cNvSpPr txBox="1">
            <a:spLocks noChangeArrowheads="1"/>
          </p:cNvSpPr>
          <p:nvPr/>
        </p:nvSpPr>
        <p:spPr bwMode="gray">
          <a:xfrm>
            <a:off x="3094984" y="2770696"/>
            <a:ext cx="1190140" cy="417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97" tIns="64799" rIns="125997" bIns="45719">
            <a:spAutoFit/>
          </a:bodyPr>
          <a:lstStyle>
            <a:defPPr>
              <a:defRPr lang="zh-CN"/>
            </a:defPPr>
            <a:lvl1pPr marL="171450" indent="-171450" eaLnBrk="0" hangingPunct="0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kumimoji="1" sz="1200" b="1">
                <a:solidFill>
                  <a:srgbClr val="4F81BD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defRPr>
            </a:lvl1pPr>
            <a:lvl2pPr marL="742950" indent="-28575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Earthquake, Nepal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Tahoma" panose="020B0604030504040204" pitchFamily="34" charset="0"/>
            </a:endParaRPr>
          </a:p>
        </p:txBody>
      </p:sp>
      <p:sp>
        <p:nvSpPr>
          <p:cNvPr id="28" name="文本框 3"/>
          <p:cNvSpPr txBox="1">
            <a:spLocks noChangeArrowheads="1"/>
          </p:cNvSpPr>
          <p:nvPr/>
        </p:nvSpPr>
        <p:spPr bwMode="auto">
          <a:xfrm>
            <a:off x="5971054" y="3215006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18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29" name="文本框 3"/>
          <p:cNvSpPr txBox="1">
            <a:spLocks noChangeArrowheads="1"/>
          </p:cNvSpPr>
          <p:nvPr/>
        </p:nvSpPr>
        <p:spPr bwMode="auto">
          <a:xfrm>
            <a:off x="4983816" y="3220660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17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30" name="矩形 8"/>
          <p:cNvSpPr>
            <a:spLocks noChangeArrowheads="1"/>
          </p:cNvSpPr>
          <p:nvPr/>
        </p:nvSpPr>
        <p:spPr bwMode="auto">
          <a:xfrm>
            <a:off x="5044926" y="3604998"/>
            <a:ext cx="784328" cy="865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ts val="45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H7N9</a:t>
            </a: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Jiuzhaigou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31" name="矩形 8"/>
          <p:cNvSpPr>
            <a:spLocks noChangeArrowheads="1"/>
          </p:cNvSpPr>
          <p:nvPr/>
        </p:nvSpPr>
        <p:spPr bwMode="auto">
          <a:xfrm>
            <a:off x="5014556" y="2350239"/>
            <a:ext cx="1050692" cy="827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97" tIns="64799" rIns="125997" bIns="45719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Plague in Malagasy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ZIKA ,Guyana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Tahoma" panose="020B0604030504040204" pitchFamily="34" charset="0"/>
            </a:endParaRPr>
          </a:p>
        </p:txBody>
      </p:sp>
      <p:sp>
        <p:nvSpPr>
          <p:cNvPr id="32" name="矩形 8"/>
          <p:cNvSpPr>
            <a:spLocks noChangeArrowheads="1"/>
          </p:cNvSpPr>
          <p:nvPr/>
        </p:nvSpPr>
        <p:spPr bwMode="auto">
          <a:xfrm>
            <a:off x="5953760" y="3524250"/>
            <a:ext cx="1101725" cy="1525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Vaccine incident of Changsheng</a:t>
            </a: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VDPV Ⅱ in Xinjiang</a:t>
            </a: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Flooded in Sichuan and Gansu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33" name="Text Box 35"/>
          <p:cNvSpPr txBox="1">
            <a:spLocks noChangeArrowheads="1"/>
          </p:cNvSpPr>
          <p:nvPr/>
        </p:nvSpPr>
        <p:spPr bwMode="gray">
          <a:xfrm>
            <a:off x="5942610" y="2818544"/>
            <a:ext cx="954490" cy="340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97" tIns="64799" rIns="125997" bIns="45719">
            <a:spAutoFit/>
          </a:bodyPr>
          <a:lstStyle>
            <a:defPPr>
              <a:defRPr lang="zh-CN"/>
            </a:defPPr>
            <a:lvl1pPr marL="171450" indent="-171450" eaLnBrk="0" hangingPunct="0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kumimoji="1" sz="1200" b="1">
                <a:solidFill>
                  <a:srgbClr val="4F81BD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defRPr>
            </a:lvl1pPr>
            <a:lvl2pPr marL="742950" indent="-28575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Ebola</a:t>
            </a:r>
            <a:r>
              <a:rPr kumimoji="1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，</a:t>
            </a: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 Congo</a:t>
            </a:r>
          </a:p>
        </p:txBody>
      </p:sp>
      <p:sp>
        <p:nvSpPr>
          <p:cNvPr id="35" name="Line 19"/>
          <p:cNvSpPr>
            <a:spLocks noChangeShapeType="1"/>
          </p:cNvSpPr>
          <p:nvPr/>
        </p:nvSpPr>
        <p:spPr bwMode="gray">
          <a:xfrm flipV="1">
            <a:off x="5087981" y="3557829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6" name="Line 19"/>
          <p:cNvSpPr>
            <a:spLocks noChangeShapeType="1"/>
          </p:cNvSpPr>
          <p:nvPr/>
        </p:nvSpPr>
        <p:spPr bwMode="gray">
          <a:xfrm flipV="1">
            <a:off x="5951984" y="3554683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8" name="文本框 3"/>
          <p:cNvSpPr txBox="1">
            <a:spLocks noChangeArrowheads="1"/>
          </p:cNvSpPr>
          <p:nvPr/>
        </p:nvSpPr>
        <p:spPr bwMode="auto">
          <a:xfrm>
            <a:off x="7163681" y="3218892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19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39" name="Line 19"/>
          <p:cNvSpPr>
            <a:spLocks noChangeShapeType="1"/>
          </p:cNvSpPr>
          <p:nvPr/>
        </p:nvSpPr>
        <p:spPr bwMode="gray">
          <a:xfrm flipV="1">
            <a:off x="6973573" y="3562382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0" name="矩形 8"/>
          <p:cNvSpPr>
            <a:spLocks noChangeArrowheads="1"/>
          </p:cNvSpPr>
          <p:nvPr/>
        </p:nvSpPr>
        <p:spPr bwMode="auto">
          <a:xfrm>
            <a:off x="6941185" y="3533775"/>
            <a:ext cx="991870" cy="1323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VDPV in Sichuan</a:t>
            </a: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Explosion at the </a:t>
            </a:r>
            <a:r>
              <a:rPr kumimoji="1" lang="en-US" altLang="zh-CN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Xiangshui</a:t>
            </a: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 chemical plant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41" name="Text Box 35"/>
          <p:cNvSpPr txBox="1">
            <a:spLocks noChangeArrowheads="1"/>
          </p:cNvSpPr>
          <p:nvPr/>
        </p:nvSpPr>
        <p:spPr bwMode="gray">
          <a:xfrm>
            <a:off x="6888086" y="2254287"/>
            <a:ext cx="1359822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97" tIns="64799" rIns="125997" bIns="45719">
            <a:spAutoFit/>
          </a:bodyPr>
          <a:lstStyle>
            <a:defPPr>
              <a:defRPr lang="zh-CN"/>
            </a:defPPr>
            <a:lvl1pPr marL="171450" indent="-171450" eaLnBrk="0" hangingPunct="0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kumimoji="1" sz="1200" b="1">
                <a:solidFill>
                  <a:srgbClr val="4F81BD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defRPr>
            </a:lvl1pPr>
            <a:lvl2pPr marL="742950" indent="-28575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Diseases of unknown origin in Guyana</a:t>
            </a:r>
          </a:p>
          <a:p>
            <a:pPr marL="171450" marR="0" lvl="0" indent="-171450" algn="l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Ebola in Uganda</a:t>
            </a:r>
          </a:p>
        </p:txBody>
      </p:sp>
      <p:sp>
        <p:nvSpPr>
          <p:cNvPr id="2" name="波形 1"/>
          <p:cNvSpPr/>
          <p:nvPr/>
        </p:nvSpPr>
        <p:spPr>
          <a:xfrm>
            <a:off x="-12850" y="1560293"/>
            <a:ext cx="1439727" cy="631210"/>
          </a:xfrm>
          <a:prstGeom prst="wav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rPr>
              <a:t>International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42" name="波形 41"/>
          <p:cNvSpPr/>
          <p:nvPr/>
        </p:nvSpPr>
        <p:spPr>
          <a:xfrm>
            <a:off x="10470021" y="4567327"/>
            <a:ext cx="1710503" cy="571636"/>
          </a:xfrm>
          <a:prstGeom prst="wav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Domestic</a:t>
            </a:r>
            <a:endParaRPr kumimoji="0" lang="zh-CN" alt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6486314" y="5396924"/>
            <a:ext cx="5608279" cy="1061983"/>
            <a:chOff x="4865771" y="5556365"/>
            <a:chExt cx="6660927" cy="1032277"/>
          </a:xfrm>
        </p:grpSpPr>
        <p:pic>
          <p:nvPicPr>
            <p:cNvPr id="113" name="Picture 5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21211" y="5559499"/>
              <a:ext cx="1263735" cy="102914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2" name="Picture 4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5615" y="5579601"/>
              <a:ext cx="1874201" cy="100590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1" name="Picture 3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58293" y="5556365"/>
              <a:ext cx="1268405" cy="102914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4" name="Picture 6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5771" y="5567984"/>
              <a:ext cx="1612396" cy="101752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6" name="文本框 3"/>
          <p:cNvSpPr txBox="1">
            <a:spLocks noChangeArrowheads="1"/>
          </p:cNvSpPr>
          <p:nvPr/>
        </p:nvSpPr>
        <p:spPr bwMode="auto">
          <a:xfrm>
            <a:off x="8134646" y="3221662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20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47" name="文本框 3"/>
          <p:cNvSpPr txBox="1">
            <a:spLocks noChangeArrowheads="1"/>
          </p:cNvSpPr>
          <p:nvPr/>
        </p:nvSpPr>
        <p:spPr bwMode="auto">
          <a:xfrm>
            <a:off x="8914452" y="3243415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21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48" name="文本框 3"/>
          <p:cNvSpPr txBox="1">
            <a:spLocks noChangeArrowheads="1"/>
          </p:cNvSpPr>
          <p:nvPr/>
        </p:nvSpPr>
        <p:spPr bwMode="auto">
          <a:xfrm>
            <a:off x="9768408" y="3243415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22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49" name="Line 19"/>
          <p:cNvSpPr>
            <a:spLocks noChangeShapeType="1"/>
          </p:cNvSpPr>
          <p:nvPr/>
        </p:nvSpPr>
        <p:spPr bwMode="gray">
          <a:xfrm flipV="1">
            <a:off x="8914452" y="3570459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0" name="Line 19"/>
          <p:cNvSpPr>
            <a:spLocks noChangeShapeType="1"/>
          </p:cNvSpPr>
          <p:nvPr/>
        </p:nvSpPr>
        <p:spPr bwMode="gray">
          <a:xfrm flipV="1">
            <a:off x="7880137" y="3562382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1" name="矩形 8"/>
          <p:cNvSpPr>
            <a:spLocks noChangeArrowheads="1"/>
          </p:cNvSpPr>
          <p:nvPr/>
        </p:nvSpPr>
        <p:spPr bwMode="auto">
          <a:xfrm>
            <a:off x="7863907" y="3570459"/>
            <a:ext cx="1052222" cy="121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COVID-19</a:t>
            </a:r>
          </a:p>
          <a:p>
            <a:pPr marL="140335" marR="0" lvl="0" indent="-140335" algn="l" defTabSz="914400" rtl="0" eaLnBrk="0" fontAlgn="base" latinLnBrk="0" hangingPunct="0">
              <a:lnSpc>
                <a:spcPts val="1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rPr>
              <a:t>Flood disaster in related provinces along the Yangtze River</a:t>
            </a:r>
            <a:endParaRPr kumimoji="1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52" name="Line 19"/>
          <p:cNvSpPr>
            <a:spLocks noChangeShapeType="1"/>
          </p:cNvSpPr>
          <p:nvPr/>
        </p:nvSpPr>
        <p:spPr bwMode="gray">
          <a:xfrm flipV="1">
            <a:off x="9878691" y="3554683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4" name="矩形 8"/>
          <p:cNvSpPr>
            <a:spLocks noChangeArrowheads="1"/>
          </p:cNvSpPr>
          <p:nvPr/>
        </p:nvSpPr>
        <p:spPr bwMode="auto">
          <a:xfrm>
            <a:off x="8880475" y="3552190"/>
            <a:ext cx="1097915" cy="551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 Yunnan and Qinghai</a:t>
            </a:r>
          </a:p>
        </p:txBody>
      </p:sp>
      <p:sp>
        <p:nvSpPr>
          <p:cNvPr id="55" name="矩形 8"/>
          <p:cNvSpPr>
            <a:spLocks noChangeArrowheads="1"/>
          </p:cNvSpPr>
          <p:nvPr/>
        </p:nvSpPr>
        <p:spPr bwMode="auto">
          <a:xfrm>
            <a:off x="9802495" y="3561080"/>
            <a:ext cx="1000760" cy="397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Earthquake, Sichuan</a:t>
            </a:r>
          </a:p>
        </p:txBody>
      </p:sp>
      <p:sp>
        <p:nvSpPr>
          <p:cNvPr id="56" name="Line 19"/>
          <p:cNvSpPr>
            <a:spLocks noChangeShapeType="1"/>
          </p:cNvSpPr>
          <p:nvPr/>
        </p:nvSpPr>
        <p:spPr bwMode="gray">
          <a:xfrm flipV="1">
            <a:off x="10632504" y="3554683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7" name="文本框 3"/>
          <p:cNvSpPr txBox="1">
            <a:spLocks noChangeArrowheads="1"/>
          </p:cNvSpPr>
          <p:nvPr/>
        </p:nvSpPr>
        <p:spPr bwMode="auto">
          <a:xfrm>
            <a:off x="10586350" y="3239400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23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58" name="矩形 8"/>
          <p:cNvSpPr>
            <a:spLocks noChangeArrowheads="1"/>
          </p:cNvSpPr>
          <p:nvPr/>
        </p:nvSpPr>
        <p:spPr bwMode="auto">
          <a:xfrm>
            <a:off x="10638034" y="3528779"/>
            <a:ext cx="936919" cy="1115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Mpox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Flood in Beijing, Tianjin and Hebei</a:t>
            </a:r>
          </a:p>
        </p:txBody>
      </p:sp>
      <p:sp>
        <p:nvSpPr>
          <p:cNvPr id="60" name="文本框 3"/>
          <p:cNvSpPr txBox="1">
            <a:spLocks noChangeArrowheads="1"/>
          </p:cNvSpPr>
          <p:nvPr/>
        </p:nvSpPr>
        <p:spPr bwMode="auto">
          <a:xfrm>
            <a:off x="11352584" y="3239400"/>
            <a:ext cx="955664" cy="251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굴림" panose="020B0600000101010101" pitchFamily="34" charset="-127"/>
                <a:cs typeface="Arial" panose="020B0604020202020204" pitchFamily="34" charset="0"/>
              </a:rPr>
              <a:t>2024</a:t>
            </a:r>
            <a:endParaRPr kumimoji="1" lang="zh-CN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굴림" panose="020B0600000101010101" pitchFamily="34" charset="-127"/>
              <a:cs typeface="Arial" panose="020B0604020202020204" pitchFamily="34" charset="0"/>
            </a:endParaRPr>
          </a:p>
        </p:txBody>
      </p:sp>
      <p:sp>
        <p:nvSpPr>
          <p:cNvPr id="61" name="Line 19"/>
          <p:cNvSpPr>
            <a:spLocks noChangeShapeType="1"/>
          </p:cNvSpPr>
          <p:nvPr/>
        </p:nvSpPr>
        <p:spPr bwMode="gray">
          <a:xfrm flipV="1">
            <a:off x="11424592" y="3562382"/>
            <a:ext cx="0" cy="59174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8" tIns="45719" rIns="91438" bIns="45719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2" name="矩形 8"/>
          <p:cNvSpPr>
            <a:spLocks noChangeArrowheads="1"/>
          </p:cNvSpPr>
          <p:nvPr/>
        </p:nvSpPr>
        <p:spPr bwMode="auto">
          <a:xfrm>
            <a:off x="11352584" y="3614829"/>
            <a:ext cx="883656" cy="551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 marL="2857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40335" marR="0" lvl="0" indent="-14033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  <a:t>Measles in Xinjiang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294967295"/>
          </p:nvPr>
        </p:nvSpPr>
        <p:spPr>
          <a:xfrm>
            <a:off x="9347200" y="6245225"/>
            <a:ext cx="2844800" cy="476250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BC6AC64-BD52-45F2-A0DD-7767C537FC8C}" type="slidenum">
              <a:rPr kumimoji="0" lang="en-US" altLang="zh-CN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3</a:t>
            </a:fld>
            <a:endParaRPr kumimoji="0" lang="en-US" altLang="zh-CN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3" name="Text Box 35"/>
          <p:cNvSpPr txBox="1">
            <a:spLocks noChangeArrowheads="1"/>
          </p:cNvSpPr>
          <p:nvPr/>
        </p:nvSpPr>
        <p:spPr bwMode="gray">
          <a:xfrm>
            <a:off x="7932445" y="2525189"/>
            <a:ext cx="1359822" cy="686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97" tIns="64799" rIns="125997" bIns="45719">
            <a:spAutoFit/>
          </a:bodyPr>
          <a:lstStyle>
            <a:defPPr>
              <a:defRPr lang="zh-CN"/>
            </a:defPPr>
            <a:lvl1pPr marL="171450" indent="-171450" eaLnBrk="0" hangingPunct="0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 kumimoji="1" sz="1200" b="1">
                <a:solidFill>
                  <a:srgbClr val="4F81BD">
                    <a:lumMod val="50000"/>
                  </a:srgbClr>
                </a:solidFill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defRPr>
            </a:lvl1pPr>
            <a:lvl2pPr marL="742950" indent="-28575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2pPr>
            <a:lvl3pPr marL="11430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3pPr>
            <a:lvl4pPr marL="16002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4pPr>
            <a:lvl5pPr marL="2057400" indent="-228600" eaLnBrk="0" hangingPunct="0"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latin typeface="굴림" panose="020B0600000101010101" pitchFamily="34" charset="-127"/>
                <a:ea typeface="宋体" panose="02010600030101010101" pitchFamily="2" charset="-122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ts val="9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1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COVID-19, Iran, Italy, Iraq, Russia, Kuwait, Saudi</a:t>
            </a:r>
            <a:r>
              <a:rPr kumimoji="1" lang="en-US" altLang="zh-CN" sz="1000" b="1" i="0" u="none" strike="noStrike" kern="1200" cap="none" spc="0" normalizeH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Tahoma" panose="020B0604030504040204" pitchFamily="34" charset="0"/>
              </a:rPr>
              <a:t> Arabia </a:t>
            </a:r>
            <a:endParaRPr kumimoji="1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Tahoma" panose="020B060403050404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/>
        </p:nvSpPr>
        <p:spPr>
          <a:xfrm>
            <a:off x="831215" y="502920"/>
            <a:ext cx="11263630" cy="57594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2C70BA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b="1" kern="0" dirty="0">
                <a:uFillTx/>
                <a:sym typeface="+mn-ea"/>
              </a:rPr>
              <a:t>China CDC’s Field Response to public health emergencies</a:t>
            </a:r>
            <a:endParaRPr lang="en-US" b="1" kern="0" dirty="0">
              <a:solidFill>
                <a:srgbClr val="2C70BA"/>
              </a:solidFill>
              <a:uFillTx/>
              <a:sym typeface="+mn-ea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标题 1"/>
          <p:cNvSpPr txBox="1">
            <a:spLocks noGrp="1"/>
          </p:cNvSpPr>
          <p:nvPr>
            <p:ph type="title"/>
          </p:nvPr>
        </p:nvSpPr>
        <p:spPr>
          <a:xfrm>
            <a:off x="507365" y="1347470"/>
            <a:ext cx="11193780" cy="631825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 defTabSz="1109345">
              <a:defRPr sz="2185"/>
            </a:pPr>
            <a:r>
              <a:rPr lang="en-US" sz="24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ergency Response </a:t>
            </a:r>
            <a:r>
              <a:rPr lang="en-US" altLang="zh-CN" sz="2400" b="1" dirty="0">
                <a:solidFill>
                  <a:srgbClr val="00B0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mework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371167" y="2048355"/>
            <a:ext cx="2757231" cy="727077"/>
            <a:chOff x="0" y="44636"/>
            <a:chExt cx="2067921" cy="545306"/>
          </a:xfrm>
        </p:grpSpPr>
        <p:sp>
          <p:nvSpPr>
            <p:cNvPr id="1175" name="矩形 4"/>
            <p:cNvSpPr/>
            <p:nvPr/>
          </p:nvSpPr>
          <p:spPr>
            <a:xfrm>
              <a:off x="0" y="44636"/>
              <a:ext cx="2060576" cy="545306"/>
            </a:xfrm>
            <a:prstGeom prst="rect">
              <a:avLst/>
            </a:prstGeom>
            <a:solidFill>
              <a:schemeClr val="accent5"/>
            </a:solidFill>
            <a:ln w="38100" cap="flat">
              <a:solidFill>
                <a:srgbClr val="FFFFFF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 defTabSz="1219200">
                <a:defRPr sz="1600">
                  <a:solidFill>
                    <a:srgbClr val="FFFFFF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pPr>
              <a:endParaRPr sz="2135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sym typeface="华文细黑" panose="02010600040101010101" pitchFamily="2" charset="-122"/>
              </a:endParaRPr>
            </a:p>
          </p:txBody>
        </p:sp>
        <p:sp>
          <p:nvSpPr>
            <p:cNvPr id="1176" name="文本框 8"/>
            <p:cNvSpPr txBox="1"/>
            <p:nvPr/>
          </p:nvSpPr>
          <p:spPr>
            <a:xfrm>
              <a:off x="7346" y="105701"/>
              <a:ext cx="2060575" cy="2856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66703" tIns="66703" rIns="66703" bIns="66703" numCol="1" anchor="t">
              <a:spAutoFit/>
            </a:bodyPr>
            <a:lstStyle/>
            <a:p>
              <a:pPr algn="ctr" defTabSz="1219200">
                <a:defRPr sz="1600"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pPr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华文细黑" panose="02010600040101010101" pitchFamily="2" charset="-122"/>
                </a:rPr>
                <a:t>IMS and key functions</a:t>
              </a:r>
            </a:p>
          </p:txBody>
        </p:sp>
      </p:grpSp>
      <p:grpSp>
        <p:nvGrpSpPr>
          <p:cNvPr id="3" name="组合 9"/>
          <p:cNvGrpSpPr/>
          <p:nvPr/>
        </p:nvGrpSpPr>
        <p:grpSpPr>
          <a:xfrm>
            <a:off x="6159500" y="2043115"/>
            <a:ext cx="2921000" cy="727079"/>
            <a:chOff x="0" y="-1"/>
            <a:chExt cx="2190750" cy="545308"/>
          </a:xfrm>
        </p:grpSpPr>
        <p:sp>
          <p:nvSpPr>
            <p:cNvPr id="1178" name="矩形 6"/>
            <p:cNvSpPr/>
            <p:nvPr/>
          </p:nvSpPr>
          <p:spPr>
            <a:xfrm>
              <a:off x="0" y="-1"/>
              <a:ext cx="2168526" cy="545308"/>
            </a:xfrm>
            <a:prstGeom prst="rect">
              <a:avLst/>
            </a:prstGeom>
            <a:solidFill>
              <a:schemeClr val="accent5"/>
            </a:solidFill>
            <a:ln w="38100" cap="flat">
              <a:solidFill>
                <a:srgbClr val="FFFFFF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 defTabSz="1219200">
                <a:defRPr>
                  <a:solidFill>
                    <a:srgbClr val="FFFFFF"/>
                  </a:solidFill>
                </a:defRPr>
              </a:pPr>
              <a:endParaRPr sz="2400">
                <a:solidFill>
                  <a:schemeClr val="bg1"/>
                </a:solidFill>
                <a:latin typeface="Calibri" panose="020F0502020204030204"/>
              </a:endParaRPr>
            </a:p>
          </p:txBody>
        </p:sp>
        <p:sp>
          <p:nvSpPr>
            <p:cNvPr id="1179" name="文本框 11"/>
            <p:cNvSpPr txBox="1"/>
            <p:nvPr/>
          </p:nvSpPr>
          <p:spPr>
            <a:xfrm>
              <a:off x="0" y="31301"/>
              <a:ext cx="2190750" cy="4703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66703" tIns="66703" rIns="66703" bIns="66703" numCol="1" anchor="t">
              <a:spAutoFit/>
            </a:bodyPr>
            <a:lstStyle>
              <a:lvl1pPr algn="ctr">
                <a:defRPr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lvl1pPr>
            </a:lstStyle>
            <a:p>
              <a:pPr defTabSz="1219200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quirements for operations</a:t>
              </a:r>
            </a:p>
          </p:txBody>
        </p:sp>
      </p:grpSp>
      <p:grpSp>
        <p:nvGrpSpPr>
          <p:cNvPr id="4" name="组合 10"/>
          <p:cNvGrpSpPr/>
          <p:nvPr/>
        </p:nvGrpSpPr>
        <p:grpSpPr>
          <a:xfrm>
            <a:off x="9159681" y="2030412"/>
            <a:ext cx="3032364" cy="728667"/>
            <a:chOff x="59384" y="-1"/>
            <a:chExt cx="2274271" cy="546499"/>
          </a:xfrm>
        </p:grpSpPr>
        <p:sp>
          <p:nvSpPr>
            <p:cNvPr id="1181" name="矩形 7"/>
            <p:cNvSpPr/>
            <p:nvPr/>
          </p:nvSpPr>
          <p:spPr>
            <a:xfrm>
              <a:off x="100012" y="-1"/>
              <a:ext cx="2192338" cy="546499"/>
            </a:xfrm>
            <a:prstGeom prst="rect">
              <a:avLst/>
            </a:prstGeom>
            <a:solidFill>
              <a:schemeClr val="accent5"/>
            </a:solidFill>
            <a:ln w="38100" cap="flat">
              <a:solidFill>
                <a:srgbClr val="FFFFFF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 defTabSz="1219200">
                <a:defRPr>
                  <a:solidFill>
                    <a:srgbClr val="FFFFFF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pPr>
              <a:endParaRPr sz="24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sym typeface="华文细黑" panose="02010600040101010101" pitchFamily="2" charset="-122"/>
              </a:endParaRPr>
            </a:p>
          </p:txBody>
        </p:sp>
        <p:sp>
          <p:nvSpPr>
            <p:cNvPr id="1182" name="文本框 12"/>
            <p:cNvSpPr txBox="1"/>
            <p:nvPr/>
          </p:nvSpPr>
          <p:spPr>
            <a:xfrm>
              <a:off x="59384" y="115171"/>
              <a:ext cx="2274271" cy="2856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66703" tIns="66703" rIns="66703" bIns="66703" numCol="1" anchor="t">
              <a:spAutoFit/>
            </a:bodyPr>
            <a:lstStyle>
              <a:lvl1pPr algn="ctr">
                <a:defRPr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lvl1pPr>
            </a:lstStyle>
            <a:p>
              <a:pPr defTabSz="1219200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Job list for key roles</a:t>
              </a:r>
            </a:p>
          </p:txBody>
        </p:sp>
      </p:grpSp>
      <p:sp>
        <p:nvSpPr>
          <p:cNvPr id="1184" name="文本框 17"/>
          <p:cNvSpPr txBox="1"/>
          <p:nvPr/>
        </p:nvSpPr>
        <p:spPr>
          <a:xfrm>
            <a:off x="6152125" y="3493963"/>
            <a:ext cx="2774161" cy="26490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54423" tIns="54423" rIns="54423" bIns="54423">
            <a:spAutoFit/>
          </a:bodyPr>
          <a:lstStyle/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Planning</a:t>
            </a:r>
          </a:p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Human resource and RRT management</a:t>
            </a:r>
          </a:p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Deployment</a:t>
            </a:r>
            <a:endParaRPr sz="1600" b="1" dirty="0">
              <a:solidFill>
                <a:srgbClr val="333399"/>
              </a:solidFill>
              <a:latin typeface="+mj-lt"/>
              <a:ea typeface="华文细黑" panose="02010600040101010101" pitchFamily="2" charset="-122"/>
              <a:sym typeface="华文细黑" panose="02010600040101010101" pitchFamily="2" charset="-122"/>
            </a:endParaRPr>
          </a:p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Security</a:t>
            </a:r>
            <a:endParaRPr sz="1600" b="1" dirty="0">
              <a:solidFill>
                <a:srgbClr val="333399"/>
              </a:solidFill>
              <a:latin typeface="+mj-lt"/>
              <a:ea typeface="华文细黑" panose="02010600040101010101" pitchFamily="2" charset="-122"/>
              <a:sym typeface="华文细黑" panose="02010600040101010101" pitchFamily="2" charset="-122"/>
            </a:endParaRPr>
          </a:p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Logistic</a:t>
            </a:r>
            <a:endParaRPr sz="1600" b="1" dirty="0">
              <a:solidFill>
                <a:srgbClr val="333399"/>
              </a:solidFill>
              <a:latin typeface="+mj-lt"/>
              <a:ea typeface="华文细黑" panose="02010600040101010101" pitchFamily="2" charset="-122"/>
              <a:sym typeface="华文细黑" panose="02010600040101010101" pitchFamily="2" charset="-122"/>
            </a:endParaRPr>
          </a:p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Confidentiality</a:t>
            </a:r>
          </a:p>
          <a:p>
            <a:pPr marL="285750" indent="-285750" defTabSz="1219200">
              <a:lnSpc>
                <a:spcPts val="2135"/>
              </a:lnSpc>
              <a:spcBef>
                <a:spcPts val="535"/>
              </a:spcBef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333399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华文细黑" panose="02010600040101010101" pitchFamily="2" charset="-122"/>
                <a:sym typeface="华文细黑" panose="02010600040101010101" pitchFamily="2" charset="-122"/>
              </a:defRPr>
            </a:pPr>
            <a:r>
              <a:rPr lang="en-US" sz="1600" b="1" dirty="0">
                <a:solidFill>
                  <a:srgbClr val="333399"/>
                </a:solidFill>
                <a:latin typeface="+mj-lt"/>
                <a:ea typeface="华文细黑" panose="02010600040101010101" pitchFamily="2" charset="-122"/>
                <a:sym typeface="华文细黑" panose="02010600040101010101" pitchFamily="2" charset="-122"/>
              </a:rPr>
              <a:t>Others </a:t>
            </a:r>
            <a:endParaRPr sz="1600" b="1" dirty="0">
              <a:solidFill>
                <a:srgbClr val="333399"/>
              </a:solidFill>
              <a:latin typeface="+mj-lt"/>
              <a:ea typeface="华文细黑" panose="02010600040101010101" pitchFamily="2" charset="-122"/>
              <a:sym typeface="华文细黑" panose="02010600040101010101" pitchFamily="2" charset="-122"/>
            </a:endParaRPr>
          </a:p>
        </p:txBody>
      </p:sp>
      <p:sp>
        <p:nvSpPr>
          <p:cNvPr id="1185" name="下箭头 5"/>
          <p:cNvSpPr/>
          <p:nvPr/>
        </p:nvSpPr>
        <p:spPr>
          <a:xfrm>
            <a:off x="1589619" y="2804979"/>
            <a:ext cx="144000" cy="43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4954"/>
                </a:moveTo>
                <a:lnTo>
                  <a:pt x="5400" y="14954"/>
                </a:lnTo>
                <a:lnTo>
                  <a:pt x="5400" y="0"/>
                </a:lnTo>
                <a:lnTo>
                  <a:pt x="16200" y="0"/>
                </a:lnTo>
                <a:lnTo>
                  <a:pt x="16200" y="14954"/>
                </a:lnTo>
                <a:lnTo>
                  <a:pt x="21600" y="14954"/>
                </a:lnTo>
                <a:lnTo>
                  <a:pt x="10800" y="21600"/>
                </a:lnTo>
                <a:close/>
              </a:path>
            </a:pathLst>
          </a:custGeom>
          <a:gradFill>
            <a:gsLst>
              <a:gs pos="0">
                <a:schemeClr val="accent1">
                  <a:hueOff val="357503"/>
                  <a:satOff val="54545"/>
                  <a:lumOff val="29273"/>
                </a:schemeClr>
              </a:gs>
              <a:gs pos="35000">
                <a:srgbClr val="BDD4FF"/>
              </a:gs>
              <a:gs pos="100000">
                <a:schemeClr val="accent1">
                  <a:hueOff val="418253"/>
                  <a:satOff val="54545"/>
                  <a:lumOff val="42493"/>
                </a:schemeClr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60959" rIns="60959" anchor="ctr"/>
          <a:lstStyle/>
          <a:p>
            <a:pPr algn="ctr" defTabSz="1219200"/>
            <a:endParaRPr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6" name="下箭头 18"/>
          <p:cNvSpPr/>
          <p:nvPr/>
        </p:nvSpPr>
        <p:spPr>
          <a:xfrm>
            <a:off x="4512735" y="2805114"/>
            <a:ext cx="144000" cy="4333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4880"/>
                </a:moveTo>
                <a:lnTo>
                  <a:pt x="5400" y="14880"/>
                </a:lnTo>
                <a:lnTo>
                  <a:pt x="5400" y="0"/>
                </a:lnTo>
                <a:lnTo>
                  <a:pt x="16200" y="0"/>
                </a:lnTo>
                <a:lnTo>
                  <a:pt x="16200" y="14880"/>
                </a:lnTo>
                <a:lnTo>
                  <a:pt x="21600" y="14880"/>
                </a:lnTo>
                <a:lnTo>
                  <a:pt x="10800" y="21600"/>
                </a:lnTo>
                <a:close/>
              </a:path>
            </a:pathLst>
          </a:custGeom>
          <a:gradFill>
            <a:gsLst>
              <a:gs pos="0">
                <a:schemeClr val="accent1">
                  <a:hueOff val="357503"/>
                  <a:satOff val="54545"/>
                  <a:lumOff val="29273"/>
                </a:schemeClr>
              </a:gs>
              <a:gs pos="35000">
                <a:srgbClr val="BDD4FF"/>
              </a:gs>
              <a:gs pos="100000">
                <a:schemeClr val="accent1">
                  <a:hueOff val="418253"/>
                  <a:satOff val="54545"/>
                  <a:lumOff val="42493"/>
                </a:schemeClr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60959" rIns="60959" anchor="ctr"/>
          <a:lstStyle/>
          <a:p>
            <a:pPr algn="ctr" defTabSz="1219200"/>
            <a:endParaRPr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7" name="下箭头 19"/>
          <p:cNvSpPr/>
          <p:nvPr/>
        </p:nvSpPr>
        <p:spPr>
          <a:xfrm>
            <a:off x="10579103" y="2809876"/>
            <a:ext cx="144000" cy="43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4880"/>
                </a:moveTo>
                <a:lnTo>
                  <a:pt x="5400" y="14880"/>
                </a:lnTo>
                <a:lnTo>
                  <a:pt x="5400" y="0"/>
                </a:lnTo>
                <a:lnTo>
                  <a:pt x="16200" y="0"/>
                </a:lnTo>
                <a:lnTo>
                  <a:pt x="16200" y="14880"/>
                </a:lnTo>
                <a:lnTo>
                  <a:pt x="21600" y="14880"/>
                </a:lnTo>
                <a:lnTo>
                  <a:pt x="10800" y="21600"/>
                </a:lnTo>
                <a:close/>
              </a:path>
            </a:pathLst>
          </a:custGeom>
          <a:gradFill>
            <a:gsLst>
              <a:gs pos="0">
                <a:schemeClr val="accent1">
                  <a:hueOff val="357503"/>
                  <a:satOff val="54545"/>
                  <a:lumOff val="29273"/>
                </a:schemeClr>
              </a:gs>
              <a:gs pos="35000">
                <a:srgbClr val="BDD4FF"/>
              </a:gs>
              <a:gs pos="100000">
                <a:schemeClr val="accent1">
                  <a:hueOff val="418253"/>
                  <a:satOff val="54545"/>
                  <a:lumOff val="42493"/>
                </a:schemeClr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60959" rIns="60959" anchor="ctr"/>
          <a:lstStyle/>
          <a:p>
            <a:pPr algn="ctr" defTabSz="1219200"/>
            <a:endParaRPr sz="240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5" name="组合 24"/>
          <p:cNvGrpSpPr/>
          <p:nvPr/>
        </p:nvGrpSpPr>
        <p:grpSpPr>
          <a:xfrm>
            <a:off x="3118602" y="2043116"/>
            <a:ext cx="3040903" cy="727079"/>
            <a:chOff x="0" y="-1"/>
            <a:chExt cx="2280675" cy="545308"/>
          </a:xfrm>
        </p:grpSpPr>
        <p:sp>
          <p:nvSpPr>
            <p:cNvPr id="1188" name="矩形 25"/>
            <p:cNvSpPr/>
            <p:nvPr/>
          </p:nvSpPr>
          <p:spPr>
            <a:xfrm>
              <a:off x="107389" y="-1"/>
              <a:ext cx="2058988" cy="545308"/>
            </a:xfrm>
            <a:prstGeom prst="rect">
              <a:avLst/>
            </a:prstGeom>
            <a:solidFill>
              <a:schemeClr val="accent5"/>
            </a:solidFill>
            <a:ln w="38100" cap="flat">
              <a:solidFill>
                <a:srgbClr val="FFFFFF"/>
              </a:solidFill>
              <a:prstDash val="solid"/>
              <a:round/>
            </a:ln>
            <a:effectLst>
              <a:outerShdw blurRad="381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 defTabSz="1219200">
                <a:defRPr>
                  <a:solidFill>
                    <a:srgbClr val="FFFFFF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pPr>
              <a:endParaRPr sz="240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sym typeface="华文细黑" panose="02010600040101010101" pitchFamily="2" charset="-122"/>
              </a:endParaRPr>
            </a:p>
          </p:txBody>
        </p:sp>
        <p:sp>
          <p:nvSpPr>
            <p:cNvPr id="1189" name="文本框 8"/>
            <p:cNvSpPr txBox="1"/>
            <p:nvPr/>
          </p:nvSpPr>
          <p:spPr>
            <a:xfrm>
              <a:off x="0" y="31301"/>
              <a:ext cx="2280675" cy="4703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txBody>
            <a:bodyPr wrap="square" lIns="66703" tIns="66703" rIns="66703" bIns="66703" numCol="1" anchor="t">
              <a:spAutoFit/>
            </a:bodyPr>
            <a:lstStyle>
              <a:lvl1pPr algn="ctr">
                <a:defRPr>
                  <a:latin typeface="华文细黑" panose="02010600040101010101" pitchFamily="2" charset="-122"/>
                  <a:ea typeface="华文细黑" panose="02010600040101010101" pitchFamily="2" charset="-122"/>
                  <a:cs typeface="华文细黑" panose="02010600040101010101" pitchFamily="2" charset="-122"/>
                  <a:sym typeface="华文细黑" panose="02010600040101010101" pitchFamily="2" charset="-122"/>
                </a:defRPr>
              </a:lvl1pPr>
            </a:lstStyle>
            <a:p>
              <a:pPr defTabSz="1219200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ctivation procedures </a:t>
              </a:r>
            </a:p>
            <a:p>
              <a:pPr defTabSz="1219200"/>
              <a:r>
                <a:rPr lang="en-US" sz="16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d levels</a:t>
              </a:r>
            </a:p>
          </p:txBody>
        </p:sp>
      </p:grpSp>
      <p:sp>
        <p:nvSpPr>
          <p:cNvPr id="1191" name="下箭头 27"/>
          <p:cNvSpPr/>
          <p:nvPr/>
        </p:nvSpPr>
        <p:spPr>
          <a:xfrm>
            <a:off x="7509933" y="2817813"/>
            <a:ext cx="144000" cy="43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4954"/>
                </a:moveTo>
                <a:lnTo>
                  <a:pt x="5400" y="14954"/>
                </a:lnTo>
                <a:lnTo>
                  <a:pt x="5400" y="0"/>
                </a:lnTo>
                <a:lnTo>
                  <a:pt x="16200" y="0"/>
                </a:lnTo>
                <a:lnTo>
                  <a:pt x="16200" y="14954"/>
                </a:lnTo>
                <a:lnTo>
                  <a:pt x="21600" y="14954"/>
                </a:lnTo>
                <a:lnTo>
                  <a:pt x="10800" y="21600"/>
                </a:lnTo>
                <a:close/>
              </a:path>
            </a:pathLst>
          </a:custGeom>
          <a:gradFill>
            <a:gsLst>
              <a:gs pos="0">
                <a:schemeClr val="accent1">
                  <a:hueOff val="357503"/>
                  <a:satOff val="54545"/>
                  <a:lumOff val="29273"/>
                </a:schemeClr>
              </a:gs>
              <a:gs pos="35000">
                <a:srgbClr val="BDD4FF"/>
              </a:gs>
              <a:gs pos="100000">
                <a:schemeClr val="accent1">
                  <a:hueOff val="418253"/>
                  <a:satOff val="54545"/>
                  <a:lumOff val="42493"/>
                </a:schemeClr>
              </a:gs>
            </a:gsLst>
            <a:lin ang="16200000"/>
          </a:gradFill>
          <a:ln>
            <a:solidFill>
              <a:srgbClr val="4A7EBB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60959" rIns="60959" anchor="ctr"/>
          <a:lstStyle/>
          <a:p>
            <a:pPr algn="ctr" defTabSz="1219200"/>
            <a:endParaRPr sz="2400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1192" name="表格 13"/>
          <p:cNvGraphicFramePr/>
          <p:nvPr/>
        </p:nvGraphicFramePr>
        <p:xfrm>
          <a:off x="3596221" y="3343275"/>
          <a:ext cx="2115737" cy="3038495"/>
        </p:xfrm>
        <a:graphic>
          <a:graphicData uri="http://schemas.openxmlformats.org/drawingml/2006/table">
            <a:tbl>
              <a:tblPr/>
              <a:tblGrid>
                <a:gridCol w="2115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7699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en-US" sz="1900" b="1" dirty="0">
                          <a:solidFill>
                            <a:srgbClr val="333399"/>
                          </a:solidFill>
                          <a:latin typeface="+mj-lt"/>
                          <a:ea typeface="华文细黑" panose="02010600040101010101" pitchFamily="2" charset="-122"/>
                          <a:cs typeface="华文细黑" panose="02010600040101010101" pitchFamily="2" charset="-122"/>
                          <a:sym typeface="华文细黑" panose="02010600040101010101" pitchFamily="2" charset="-122"/>
                        </a:rPr>
                        <a:t>WATCH</a:t>
                      </a:r>
                      <a:endParaRPr sz="1900" b="1" dirty="0">
                        <a:solidFill>
                          <a:srgbClr val="333399"/>
                        </a:solidFill>
                        <a:latin typeface="+mj-lt"/>
                        <a:ea typeface="华文细黑" panose="02010600040101010101" pitchFamily="2" charset="-122"/>
                        <a:cs typeface="华文细黑" panose="02010600040101010101" pitchFamily="2" charset="-122"/>
                        <a:sym typeface="华文细黑" panose="02010600040101010101" pitchFamily="2" charset="-122"/>
                      </a:endParaRPr>
                    </a:p>
                  </a:txBody>
                  <a:tcPr marL="33012" marR="33012" marT="33012" marB="33012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7699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en-US" sz="1900" b="1" dirty="0">
                          <a:solidFill>
                            <a:srgbClr val="333399"/>
                          </a:solidFill>
                          <a:latin typeface="+mj-lt"/>
                          <a:ea typeface="华文细黑" panose="02010600040101010101" pitchFamily="2" charset="-122"/>
                          <a:cs typeface="华文细黑" panose="02010600040101010101" pitchFamily="2" charset="-122"/>
                          <a:sym typeface="华文细黑" panose="02010600040101010101" pitchFamily="2" charset="-122"/>
                        </a:rPr>
                        <a:t>ALERT</a:t>
                      </a:r>
                      <a:endParaRPr sz="1900" b="1" dirty="0">
                        <a:solidFill>
                          <a:srgbClr val="333399"/>
                        </a:solidFill>
                        <a:latin typeface="+mj-lt"/>
                        <a:ea typeface="华文细黑" panose="02010600040101010101" pitchFamily="2" charset="-122"/>
                        <a:cs typeface="华文细黑" panose="02010600040101010101" pitchFamily="2" charset="-122"/>
                        <a:sym typeface="华文细黑" panose="02010600040101010101" pitchFamily="2" charset="-122"/>
                      </a:endParaRPr>
                    </a:p>
                  </a:txBody>
                  <a:tcPr marL="33012" marR="33012" marT="33012" marB="33012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7699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en-US" sz="1900" b="1" dirty="0">
                          <a:solidFill>
                            <a:srgbClr val="333399"/>
                          </a:solidFill>
                          <a:latin typeface="+mj-lt"/>
                          <a:ea typeface="华文细黑" panose="02010600040101010101" pitchFamily="2" charset="-122"/>
                          <a:cs typeface="华文细黑" panose="02010600040101010101" pitchFamily="2" charset="-122"/>
                          <a:sym typeface="华文细黑" panose="02010600040101010101" pitchFamily="2" charset="-122"/>
                        </a:rPr>
                        <a:t>GRADE 3</a:t>
                      </a:r>
                      <a:endParaRPr sz="1900" b="1" dirty="0">
                        <a:solidFill>
                          <a:srgbClr val="333399"/>
                        </a:solidFill>
                        <a:latin typeface="+mj-lt"/>
                        <a:ea typeface="华文细黑" panose="02010600040101010101" pitchFamily="2" charset="-122"/>
                        <a:cs typeface="华文细黑" panose="02010600040101010101" pitchFamily="2" charset="-122"/>
                        <a:sym typeface="华文细黑" panose="02010600040101010101" pitchFamily="2" charset="-122"/>
                      </a:endParaRPr>
                    </a:p>
                  </a:txBody>
                  <a:tcPr marL="33012" marR="33012" marT="33012" marB="33012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7699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en-US" sz="1900" b="1" dirty="0">
                          <a:solidFill>
                            <a:srgbClr val="333399"/>
                          </a:solidFill>
                          <a:latin typeface="+mj-lt"/>
                          <a:ea typeface="华文细黑" panose="02010600040101010101" pitchFamily="2" charset="-122"/>
                          <a:cs typeface="华文细黑" panose="02010600040101010101" pitchFamily="2" charset="-122"/>
                          <a:sym typeface="华文细黑" panose="02010600040101010101" pitchFamily="2" charset="-122"/>
                        </a:rPr>
                        <a:t>GRADE 2</a:t>
                      </a:r>
                      <a:endParaRPr sz="1900" b="1" dirty="0">
                        <a:solidFill>
                          <a:srgbClr val="333399"/>
                        </a:solidFill>
                        <a:latin typeface="+mj-lt"/>
                        <a:ea typeface="华文细黑" panose="02010600040101010101" pitchFamily="2" charset="-122"/>
                        <a:cs typeface="华文细黑" panose="02010600040101010101" pitchFamily="2" charset="-122"/>
                        <a:sym typeface="华文细黑" panose="02010600040101010101" pitchFamily="2" charset="-122"/>
                      </a:endParaRPr>
                    </a:p>
                  </a:txBody>
                  <a:tcPr marL="33012" marR="33012" marT="33012" marB="33012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7699">
                <a:tc>
                  <a:txBody>
                    <a:bodyPr/>
                    <a:lstStyle/>
                    <a:p>
                      <a:pPr algn="ctr">
                        <a:defRPr sz="1800"/>
                      </a:pPr>
                      <a:r>
                        <a:rPr lang="en-US" sz="1900" b="1" dirty="0">
                          <a:solidFill>
                            <a:srgbClr val="333399"/>
                          </a:solidFill>
                          <a:latin typeface="+mj-lt"/>
                          <a:ea typeface="华文细黑" panose="02010600040101010101" pitchFamily="2" charset="-122"/>
                          <a:cs typeface="华文细黑" panose="02010600040101010101" pitchFamily="2" charset="-122"/>
                          <a:sym typeface="华文细黑" panose="02010600040101010101" pitchFamily="2" charset="-122"/>
                        </a:rPr>
                        <a:t>GRADE 1</a:t>
                      </a:r>
                      <a:endParaRPr sz="1900" b="1" dirty="0">
                        <a:solidFill>
                          <a:srgbClr val="333399"/>
                        </a:solidFill>
                        <a:latin typeface="+mj-lt"/>
                        <a:ea typeface="华文细黑" panose="02010600040101010101" pitchFamily="2" charset="-122"/>
                        <a:cs typeface="华文细黑" panose="02010600040101010101" pitchFamily="2" charset="-122"/>
                        <a:sym typeface="华文细黑" panose="02010600040101010101" pitchFamily="2" charset="-122"/>
                      </a:endParaRPr>
                    </a:p>
                  </a:txBody>
                  <a:tcPr marL="33012" marR="33012" marT="33012" marB="33012" anchor="ctr" horzOverflow="overflow">
                    <a:lnL w="12700">
                      <a:solidFill>
                        <a:srgbClr val="000000"/>
                      </a:solidFill>
                    </a:lnL>
                    <a:lnR w="12700">
                      <a:solidFill>
                        <a:srgbClr val="000000"/>
                      </a:solidFill>
                    </a:lnR>
                    <a:lnT w="12700">
                      <a:solidFill>
                        <a:srgbClr val="000000"/>
                      </a:solidFill>
                    </a:lnT>
                    <a:lnB w="12700">
                      <a:solidFill>
                        <a:srgbClr val="000000"/>
                      </a:solidFill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93" name="矩形 1"/>
          <p:cNvSpPr txBox="1"/>
          <p:nvPr/>
        </p:nvSpPr>
        <p:spPr>
          <a:xfrm>
            <a:off x="882022" y="495549"/>
            <a:ext cx="9697077" cy="521970"/>
          </a:xfrm>
          <a:prstGeom prst="rect">
            <a:avLst/>
          </a:prstGeom>
          <a:ln w="12700">
            <a:miter lim="400000"/>
          </a:ln>
        </p:spPr>
        <p:txBody>
          <a:bodyPr wrap="square" lIns="60959" rIns="60959">
            <a:spAutoFit/>
          </a:bodyPr>
          <a:lstStyle>
            <a:lvl1pPr>
              <a:defRPr sz="32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lvl1pPr>
          </a:lstStyle>
          <a:p>
            <a:pPr algn="l" defTabSz="1219200"/>
            <a:r>
              <a:rPr lang="en-US" sz="2800" b="1" dirty="0">
                <a:solidFill>
                  <a:schemeClr val="accent1"/>
                </a:solidFill>
                <a:latin typeface="Calibri" panose="020F0502020204030204"/>
              </a:rPr>
              <a:t>Public Health Emergency Operations Center in China CDC</a:t>
            </a:r>
          </a:p>
        </p:txBody>
      </p:sp>
      <p:pic>
        <p:nvPicPr>
          <p:cNvPr id="1194" name="Picture 3" descr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0286" y="3329747"/>
            <a:ext cx="3449437" cy="3075584"/>
          </a:xfrm>
          <a:prstGeom prst="rect">
            <a:avLst/>
          </a:prstGeom>
          <a:ln w="12700">
            <a:miter lim="400000"/>
            <a:headEnd/>
            <a:tailEnd/>
          </a:ln>
        </p:spPr>
      </p:pic>
      <p:pic>
        <p:nvPicPr>
          <p:cNvPr id="1195" name="Picture 4" descr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50866" y="3238500"/>
            <a:ext cx="3141135" cy="2935825"/>
          </a:xfrm>
          <a:prstGeom prst="rect">
            <a:avLst/>
          </a:prstGeom>
          <a:ln w="12700">
            <a:miter lim="400000"/>
            <a:headEnd/>
            <a:tailEnd/>
          </a:ln>
        </p:spPr>
      </p:pic>
    </p:spTree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4700" y="351155"/>
            <a:ext cx="10965180" cy="804545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altLang="zh-CN" b="1" dirty="0">
                <a:solidFill>
                  <a:schemeClr val="accent1"/>
                </a:solidFill>
                <a:ea typeface="微软雅黑" panose="020B0503020204020204" charset="-122"/>
              </a:rPr>
              <a:t>Contributing in shaping national and international legal instruments </a:t>
            </a:r>
          </a:p>
        </p:txBody>
      </p:sp>
      <p:sp>
        <p:nvSpPr>
          <p:cNvPr id="13" name="内容占位符 12"/>
          <p:cNvSpPr>
            <a:spLocks noGrp="1"/>
          </p:cNvSpPr>
          <p:nvPr>
            <p:ph idx="1"/>
          </p:nvPr>
        </p:nvSpPr>
        <p:spPr>
          <a:xfrm>
            <a:off x="670178" y="1441842"/>
            <a:ext cx="6411192" cy="4360244"/>
          </a:xfrm>
        </p:spPr>
        <p:txBody>
          <a:bodyPr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2000" b="1" dirty="0">
                <a:solidFill>
                  <a:srgbClr val="002060"/>
                </a:solidFill>
                <a:ea typeface="微软雅黑" panose="020B0503020204020204" charset="-122"/>
              </a:rPr>
              <a:t>The negotiation of legally-binding Pandemic Agreement is central to strengthen future pandemic PPR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1600" dirty="0">
                <a:solidFill>
                  <a:srgbClr val="002060"/>
                </a:solidFill>
                <a:ea typeface="微软雅黑" panose="020B0503020204020204" charset="-122"/>
              </a:rPr>
              <a:t>Keep the momentum and commitment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1600" dirty="0">
                <a:solidFill>
                  <a:srgbClr val="002060"/>
                </a:solidFill>
                <a:ea typeface="微软雅黑" panose="020B0503020204020204" charset="-122"/>
              </a:rPr>
              <a:t>Ensure meaningful public health provisions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1600" dirty="0">
                <a:solidFill>
                  <a:srgbClr val="002060"/>
                </a:solidFill>
                <a:ea typeface="微软雅黑" panose="020B0503020204020204" charset="-122"/>
              </a:rPr>
              <a:t>More voices from NPHIs are needed in the negotiation room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1600" dirty="0">
                <a:solidFill>
                  <a:srgbClr val="002060"/>
                </a:solidFill>
                <a:ea typeface="微软雅黑" panose="020B0503020204020204" charset="-122"/>
              </a:rPr>
              <a:t>China CDC deeply involved in the negotiation of WGIHR and PA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2000" b="1" dirty="0">
                <a:solidFill>
                  <a:srgbClr val="002060"/>
                </a:solidFill>
                <a:ea typeface="微软雅黑" panose="020B0503020204020204" charset="-122"/>
              </a:rPr>
              <a:t>Develop and update national health security laws and strategies</a:t>
            </a:r>
            <a:r>
              <a:rPr lang="en-US" altLang="zh-CN" sz="2000" dirty="0">
                <a:solidFill>
                  <a:srgbClr val="002060"/>
                </a:solidFill>
                <a:ea typeface="微软雅黑" panose="020B0503020204020204" charset="-122"/>
              </a:rPr>
              <a:t>:</a:t>
            </a:r>
          </a:p>
          <a:p>
            <a:pPr marL="800100" lvl="1" indent="-342900">
              <a:lnSpc>
                <a:spcPct val="100000"/>
              </a:lnSpc>
              <a:spcBef>
                <a:spcPts val="1200"/>
              </a:spcBef>
            </a:pPr>
            <a:r>
              <a:rPr lang="en-US" altLang="zh-CN" sz="1600" dirty="0">
                <a:solidFill>
                  <a:srgbClr val="002060"/>
                </a:solidFill>
                <a:ea typeface="微软雅黑" panose="020B0503020204020204" charset="-122"/>
              </a:rPr>
              <a:t>China CDC has drafted and submitted the National Infectious Disease Law,  National Public Health Emergency Management Law and National Emergency Preparedness Plan for final approval </a:t>
            </a:r>
          </a:p>
        </p:txBody>
      </p:sp>
      <p:sp>
        <p:nvSpPr>
          <p:cNvPr id="5" name="标题 1"/>
          <p:cNvSpPr txBox="1"/>
          <p:nvPr/>
        </p:nvSpPr>
        <p:spPr>
          <a:xfrm>
            <a:off x="90867" y="3116200"/>
            <a:ext cx="11995183" cy="10212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zh-CN" altLang="en-US" sz="2400" dirty="0">
              <a:solidFill>
                <a:srgbClr val="002060"/>
              </a:solidFill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4837" y="3543747"/>
            <a:ext cx="2589618" cy="179269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56150" y="3529698"/>
            <a:ext cx="2347970" cy="1820789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5064" y="1243447"/>
            <a:ext cx="2863678" cy="2146430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" name="标题 1"/>
          <p:cNvSpPr txBox="1">
            <a:spLocks noGrp="1"/>
          </p:cNvSpPr>
          <p:nvPr>
            <p:ph type="title"/>
          </p:nvPr>
        </p:nvSpPr>
        <p:spPr>
          <a:xfrm>
            <a:off x="878514" y="267586"/>
            <a:ext cx="9530186" cy="768088"/>
          </a:xfrm>
          <a:prstGeom prst="rect">
            <a:avLst/>
          </a:prstGeom>
        </p:spPr>
        <p:txBody>
          <a:bodyPr>
            <a:noAutofit/>
          </a:bodyPr>
          <a:lstStyle/>
          <a:p>
            <a:pPr defTabSz="938530">
              <a:defRPr sz="2770"/>
            </a:pPr>
            <a:r>
              <a:rPr lang="en-US" altLang="zh-CN" sz="2800" b="1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Building capacities of Rapid Response Teams (RRTs)</a:t>
            </a:r>
          </a:p>
        </p:txBody>
      </p:sp>
      <p:sp>
        <p:nvSpPr>
          <p:cNvPr id="1124" name="内容占位符 2"/>
          <p:cNvSpPr txBox="1">
            <a:spLocks noGrp="1"/>
          </p:cNvSpPr>
          <p:nvPr>
            <p:ph type="body" idx="1"/>
          </p:nvPr>
        </p:nvSpPr>
        <p:spPr>
          <a:xfrm>
            <a:off x="877990" y="1470649"/>
            <a:ext cx="6560470" cy="4416491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en-US" altLang="zh-CN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ational RRT program launched in 2010</a:t>
            </a:r>
          </a:p>
          <a:p>
            <a:pPr>
              <a:lnSpc>
                <a:spcPct val="110000"/>
              </a:lnSpc>
            </a:pPr>
            <a:r>
              <a:rPr lang="en-US" altLang="zh-CN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9 national teams have been developed in 31 provinces, including 20 infectious disease RRTs</a:t>
            </a:r>
          </a:p>
          <a:p>
            <a:pPr>
              <a:lnSpc>
                <a:spcPct val="110000"/>
              </a:lnSpc>
            </a:pPr>
            <a:r>
              <a:rPr lang="en-US" altLang="zh-CN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RRTs in China CDC:</a:t>
            </a:r>
          </a:p>
          <a:p>
            <a:pPr lvl="1">
              <a:lnSpc>
                <a:spcPct val="110000"/>
              </a:lnSpc>
            </a:pPr>
            <a:r>
              <a:rPr lang="en-US" altLang="zh-CN" sz="24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nfectious disease</a:t>
            </a:r>
            <a:endParaRPr lang="zh-CN" altLang="en-US" sz="2400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en-US" altLang="zh-CN" sz="24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oisoning incident</a:t>
            </a:r>
            <a:endParaRPr lang="zh-CN" altLang="en-US" sz="2400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en-US" altLang="zh-CN" sz="24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uclear and radiation event</a:t>
            </a:r>
          </a:p>
          <a:p>
            <a:pPr lvl="1"/>
            <a:r>
              <a:rPr lang="en-US" altLang="zh-CN" sz="24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atural Disasters</a:t>
            </a:r>
          </a:p>
          <a:p>
            <a:r>
              <a:rPr lang="en-US" altLang="zh-CN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RRT standards, contingency plan and rapid deployment mechanism are in place</a:t>
            </a:r>
          </a:p>
          <a:p>
            <a:r>
              <a:rPr lang="en-US" altLang="zh-CN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nduct trainings and exercises every year 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19271" y="1035560"/>
            <a:ext cx="4102064" cy="173658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9271" y="2685399"/>
            <a:ext cx="4038967" cy="3987544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7052" y="4835288"/>
            <a:ext cx="2686636" cy="18670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73895" y="228817"/>
            <a:ext cx="9984084" cy="628651"/>
          </a:xfrm>
        </p:spPr>
        <p:txBody>
          <a:bodyPr>
            <a:noAutofit/>
          </a:bodyPr>
          <a:lstStyle/>
          <a:p>
            <a:r>
              <a:rPr lang="en-US" altLang="zh-CN" sz="2665" b="1" dirty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Develop rapidly deployable and self-sufficient mobile teams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50093" y="1149558"/>
            <a:ext cx="5557197" cy="3664185"/>
          </a:xfrm>
        </p:spPr>
        <p:txBody>
          <a:bodyPr>
            <a:noAutofit/>
          </a:bodyPr>
          <a:lstStyle/>
          <a:p>
            <a:r>
              <a:rPr lang="en-US" altLang="zh-CN" sz="2135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ecessary equipment and logistic support for individuals, teams and camps</a:t>
            </a:r>
          </a:p>
          <a:p>
            <a:pPr lvl="1"/>
            <a:r>
              <a:rPr lang="en-US" altLang="zh-CN" sz="1735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obile BSL-3</a:t>
            </a:r>
          </a:p>
          <a:p>
            <a:pPr lvl="1"/>
            <a:r>
              <a:rPr lang="en-US" altLang="zh-CN" sz="1735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obile commanding center with satellite communication</a:t>
            </a:r>
          </a:p>
          <a:p>
            <a:pPr lvl="1"/>
            <a:r>
              <a:rPr lang="en-US" altLang="zh-CN" sz="1735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obile logistics cabin: kitchen, shower room, sleeping room </a:t>
            </a:r>
          </a:p>
          <a:p>
            <a:r>
              <a:rPr lang="en-US" altLang="zh-CN" sz="2135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e prepared for future international missions and contribute to global workforce network</a:t>
            </a:r>
          </a:p>
          <a:p>
            <a:pPr lvl="1"/>
            <a:r>
              <a:rPr lang="en-US" altLang="zh-CN" sz="1735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Joined the technical advisory group of and discussions with GHEC</a:t>
            </a:r>
          </a:p>
          <a:p>
            <a:endParaRPr lang="en-US" altLang="zh-CN" sz="2135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6" descr="移动式生物安全实验室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7103" y="4847400"/>
            <a:ext cx="2861447" cy="1854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https://www.chinacdc.cn/yw_9324/202309/W02023091450401990646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290" y="4813743"/>
            <a:ext cx="2854951" cy="1854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https://www.chinacdc.cn/yw_9324/202309/W02023091450401996768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27" y="4835288"/>
            <a:ext cx="2948936" cy="1854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2314" y="1041540"/>
            <a:ext cx="5381374" cy="3587583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46785" y="282575"/>
            <a:ext cx="10515600" cy="1043305"/>
          </a:xfrm>
        </p:spPr>
        <p:txBody>
          <a:bodyPr>
            <a:normAutofit/>
          </a:bodyPr>
          <a:lstStyle/>
          <a:p>
            <a:pPr algn="l">
              <a:lnSpc>
                <a:spcPct val="130000"/>
              </a:lnSpc>
            </a:pPr>
            <a:r>
              <a:rPr lang="en-US" altLang="zh-CN" b="1" dirty="0">
                <a:solidFill>
                  <a:schemeClr val="accent1"/>
                </a:solidFill>
                <a:ea typeface="微软雅黑" panose="020B0503020204020204" charset="-122"/>
              </a:rPr>
              <a:t>Bi-regional GOARN Tier 1.5 Training </a:t>
            </a:r>
            <a:br>
              <a:rPr lang="en-US" altLang="zh-CN" b="1" dirty="0">
                <a:solidFill>
                  <a:schemeClr val="accent1"/>
                </a:solidFill>
                <a:ea typeface="微软雅黑" panose="020B0503020204020204" charset="-122"/>
              </a:rPr>
            </a:b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18-20 June, 2024</a:t>
            </a:r>
          </a:p>
        </p:txBody>
      </p:sp>
      <p:pic>
        <p:nvPicPr>
          <p:cNvPr id="3" name="图片 2" descr="C:\Users\qiqi\Documents\WeChat Files\wxid_10n7f85pscne11\FileStorage\Temp\6dfb7db928b7b37d43d5748503adaef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7315" y="4147456"/>
            <a:ext cx="3641271" cy="234061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图片 3" descr="C:\Users\qiqi\Documents\WeChat Files\wxid_10n7f85pscne11\FileStorage\Temp\c609058d61f260dd1f34d002aac51a3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7314" y="1760570"/>
            <a:ext cx="3641271" cy="226732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矩形 4"/>
          <p:cNvSpPr/>
          <p:nvPr/>
        </p:nvSpPr>
        <p:spPr>
          <a:xfrm>
            <a:off x="661308" y="1587018"/>
            <a:ext cx="71247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kern="100" dirty="0">
                <a:solidFill>
                  <a:srgbClr val="002060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Co-organized by China CDC, GOARN, and WHO WPRO, supported by RKI, Japan NIID, GD CD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2000" kern="100" dirty="0">
                <a:solidFill>
                  <a:srgbClr val="002060"/>
                </a:solidFill>
                <a:latin typeface="Calibri" panose="020F0502020204030204" pitchFamily="34" charset="0"/>
                <a:ea typeface="微软雅黑" panose="020B0503020204020204" charset="-122"/>
                <a:cs typeface="Calibri" panose="020F0502020204030204" pitchFamily="34" charset="0"/>
              </a:rPr>
              <a:t>67 emergency responders participated in the training: Brunei Darussalam, Cambodia, China, Indonesia, Lao PDR, Malaysia, Singapore, Sri Lanka, Thailand and Viet Nam</a:t>
            </a:r>
            <a:endParaRPr lang="zh-CN" altLang="zh-CN" sz="2000" kern="100" dirty="0">
              <a:solidFill>
                <a:srgbClr val="002060"/>
              </a:solidFill>
              <a:latin typeface="Calibri" panose="020F0502020204030204" pitchFamily="34" charset="0"/>
              <a:ea typeface="微软雅黑" panose="020B0503020204020204" charset="-122"/>
              <a:cs typeface="Calibri" panose="020F0502020204030204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" y="3681232"/>
            <a:ext cx="7903029" cy="292639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838185" y="287458"/>
            <a:ext cx="10515600" cy="984704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</a:pPr>
            <a:r>
              <a:rPr lang="en-US" altLang="zh-CN" b="1" dirty="0">
                <a:solidFill>
                  <a:schemeClr val="accent1"/>
                </a:solidFill>
                <a:ea typeface="微软雅黑" panose="020B0503020204020204" charset="-122"/>
              </a:rPr>
              <a:t>National contest of health emergency technical skills</a:t>
            </a:r>
          </a:p>
        </p:txBody>
      </p:sp>
      <p:pic>
        <p:nvPicPr>
          <p:cNvPr id="4" name="内容占位符 3" descr="C:\Users\qiqi\Documents\WeChat Files\wxid_10n7f85pscne11\FileStorage\Temp\bdff2842526ecc1c41a0d6995984dde.jpg"/>
          <p:cNvPicPr>
            <a:picLocks noGrp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06376" y="1659422"/>
            <a:ext cx="4513967" cy="309763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内容占位符 6"/>
          <p:cNvSpPr>
            <a:spLocks noGrp="1"/>
          </p:cNvSpPr>
          <p:nvPr>
            <p:ph sz="half" idx="2"/>
          </p:nvPr>
        </p:nvSpPr>
        <p:spPr>
          <a:xfrm>
            <a:off x="5172716" y="1377873"/>
            <a:ext cx="7019284" cy="135088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zh-CN" sz="1800" dirty="0">
                <a:solidFill>
                  <a:srgbClr val="002060"/>
                </a:solidFill>
                <a:ea typeface="微软雅黑" panose="020B0503020204020204" charset="-122"/>
              </a:rPr>
              <a:t>2024: epi investigation skills contest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altLang="zh-CN" sz="1600" dirty="0">
                <a:solidFill>
                  <a:srgbClr val="002060"/>
                </a:solidFill>
                <a:ea typeface="微软雅黑" panose="020B0503020204020204" charset="-122"/>
              </a:rPr>
              <a:t>Public health technical staff from 31 provincial CDC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zh-CN" sz="1800" dirty="0">
                <a:solidFill>
                  <a:srgbClr val="002060"/>
                </a:solidFill>
                <a:ea typeface="微软雅黑" panose="020B0503020204020204" charset="-122"/>
              </a:rPr>
              <a:t>2017 contest: medical rescue, chemical poisoning, infectious disease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zh-CN" sz="1800" dirty="0">
                <a:solidFill>
                  <a:srgbClr val="002060"/>
                </a:solidFill>
                <a:ea typeface="微软雅黑" panose="020B0503020204020204" charset="-122"/>
              </a:rPr>
              <a:t>2015 contest: chemical poisoning, infectious disease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US" altLang="zh-CN" sz="1800" dirty="0">
              <a:solidFill>
                <a:srgbClr val="002060"/>
              </a:solidFill>
              <a:ea typeface="微软雅黑" panose="020B050302020402020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2716" y="2833832"/>
            <a:ext cx="5969523" cy="2880435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NzQ5YjEzZDcwNDRjM2Q4OGMxOTA5MWY3YTA2ZTFhMGUifQ=="/>
  <p:tag name="RESOURCE_RECORD_KEY" val="{&quot;13&quot;:[4695713,20025433]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OURCE_RECORD_KEY" val="{&quot;13&quot;:[4695713,20025433]}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ec0f2c8-51f7-495d-a454-42413d559956" xsi:nil="true"/>
    <lcf76f155ced4ddcb4097134ff3c332f xmlns="edbc6619-208e-4139-904a-e28b829ed0c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0C26ED75B6F42858795A942B8A417" ma:contentTypeVersion="18" ma:contentTypeDescription="Crée un document." ma:contentTypeScope="" ma:versionID="d182f3109876402847789c0f9bf19ada">
  <xsd:schema xmlns:xsd="http://www.w3.org/2001/XMLSchema" xmlns:xs="http://www.w3.org/2001/XMLSchema" xmlns:p="http://schemas.microsoft.com/office/2006/metadata/properties" xmlns:ns2="edbc6619-208e-4139-904a-e28b829ed0c5" xmlns:ns3="7ec0f2c8-51f7-495d-a454-42413d559956" targetNamespace="http://schemas.microsoft.com/office/2006/metadata/properties" ma:root="true" ma:fieldsID="494e0b62db10ba8905d94693a82a3b61" ns2:_="" ns3:_="">
    <xsd:import namespace="edbc6619-208e-4139-904a-e28b829ed0c5"/>
    <xsd:import namespace="7ec0f2c8-51f7-495d-a454-42413d5599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bc6619-208e-4139-904a-e28b829ed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alises d’images" ma:readOnly="false" ma:fieldId="{5cf76f15-5ced-4ddc-b409-7134ff3c332f}" ma:taxonomyMulti="true" ma:sspId="992fa3da-db31-45ba-92de-38f16e295a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c0f2c8-51f7-495d-a454-42413d5599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d0e3ae4-a038-4907-b63c-24631858edc7}" ma:internalName="TaxCatchAll" ma:showField="CatchAllData" ma:web="7ec0f2c8-51f7-495d-a454-42413d5599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CAAAC1-F0F3-43EC-ADF2-4AF1D161417B}">
  <ds:schemaRefs/>
</ds:datastoreItem>
</file>

<file path=customXml/itemProps2.xml><?xml version="1.0" encoding="utf-8"?>
<ds:datastoreItem xmlns:ds="http://schemas.openxmlformats.org/officeDocument/2006/customXml" ds:itemID="{1B577783-C383-4399-A01F-EE390AF857EC}">
  <ds:schemaRefs/>
</ds:datastoreItem>
</file>

<file path=customXml/itemProps3.xml><?xml version="1.0" encoding="utf-8"?>
<ds:datastoreItem xmlns:ds="http://schemas.openxmlformats.org/officeDocument/2006/customXml" ds:itemID="{660E045D-A6C3-451B-9D9B-8046084607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bc6619-208e-4139-904a-e28b829ed0c5"/>
    <ds:schemaRef ds:uri="7ec0f2c8-51f7-495d-a454-42413d5599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63</Words>
  <Application>Microsoft Macintosh PowerPoint</Application>
  <PresentationFormat>Widescreen</PresentationFormat>
  <Paragraphs>14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5" baseType="lpstr">
      <vt:lpstr>楷体</vt:lpstr>
      <vt:lpstr>微软雅黑</vt:lpstr>
      <vt:lpstr>宋体</vt:lpstr>
      <vt:lpstr>华文细黑</vt:lpstr>
      <vt:lpstr>Advent Pro</vt:lpstr>
      <vt:lpstr>Arial</vt:lpstr>
      <vt:lpstr>Calibri</vt:lpstr>
      <vt:lpstr>Colonna MT</vt:lpstr>
      <vt:lpstr>Futura Std Light</vt:lpstr>
      <vt:lpstr>Helvetica</vt:lpstr>
      <vt:lpstr>Tahoma</vt:lpstr>
      <vt:lpstr>Wingdings</vt:lpstr>
      <vt:lpstr>Thème Office</vt:lpstr>
      <vt:lpstr>think-cell Slide</vt:lpstr>
      <vt:lpstr>Prof. Hongbing Shen  Director-General, Chinese Center for Disease Control and Prevention Deputy Director-General, National Disease Control and Prevention Administration, P. R. China</vt:lpstr>
      <vt:lpstr>Recognizing NPHIs’ central role in addressing public health security</vt:lpstr>
      <vt:lpstr>PowerPoint Presentation</vt:lpstr>
      <vt:lpstr>Emergency Response Framework</vt:lpstr>
      <vt:lpstr>Contributing in shaping national and international legal instruments </vt:lpstr>
      <vt:lpstr>Building capacities of Rapid Response Teams (RRTs)</vt:lpstr>
      <vt:lpstr>Develop rapidly deployable and self-sufficient mobile teams</vt:lpstr>
      <vt:lpstr>Bi-regional GOARN Tier 1.5 Training  18-20 June, 2024</vt:lpstr>
      <vt:lpstr>National contest of health emergency technical skills</vt:lpstr>
      <vt:lpstr>China-Africa Collaboration</vt:lpstr>
      <vt:lpstr>Thank you  </vt:lpstr>
    </vt:vector>
  </TitlesOfParts>
  <Company>ANS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OLLETAZ Paul</dc:creator>
  <cp:lastModifiedBy>Lynnette Lytle</cp:lastModifiedBy>
  <cp:revision>252</cp:revision>
  <cp:lastPrinted>2024-03-28T16:49:00Z</cp:lastPrinted>
  <dcterms:created xsi:type="dcterms:W3CDTF">2024-01-24T08:51:00Z</dcterms:created>
  <dcterms:modified xsi:type="dcterms:W3CDTF">2024-11-20T14:5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A0C26ED75B6F42858795A942B8A417</vt:lpwstr>
  </property>
  <property fmtid="{D5CDD505-2E9C-101B-9397-08002B2CF9AE}" pid="3" name="MediaServiceImageTags">
    <vt:lpwstr/>
  </property>
  <property fmtid="{D5CDD505-2E9C-101B-9397-08002B2CF9AE}" pid="4" name="ICV">
    <vt:lpwstr>127F1C59FD304FFBA663040FC3A8ECB5_13</vt:lpwstr>
  </property>
  <property fmtid="{D5CDD505-2E9C-101B-9397-08002B2CF9AE}" pid="5" name="KSOProductBuildVer">
    <vt:lpwstr>2052-12.1.0.17827</vt:lpwstr>
  </property>
</Properties>
</file>